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651" r:id="rId5"/>
    <p:sldId id="860" r:id="rId6"/>
    <p:sldId id="886" r:id="rId7"/>
    <p:sldId id="866" r:id="rId8"/>
    <p:sldId id="887" r:id="rId9"/>
    <p:sldId id="888" r:id="rId10"/>
    <p:sldId id="890" r:id="rId11"/>
    <p:sldId id="889" r:id="rId1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lidedeck" id="{E6E0AEE3-E9B3-4274-BF13-B8C835C6A23D}">
          <p14:sldIdLst>
            <p14:sldId id="651"/>
            <p14:sldId id="860"/>
            <p14:sldId id="886"/>
            <p14:sldId id="866"/>
            <p14:sldId id="887"/>
            <p14:sldId id="888"/>
            <p14:sldId id="890"/>
            <p14:sldId id="8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58B6C0"/>
    <a:srgbClr val="F8F8F8"/>
    <a:srgbClr val="3C5A9B"/>
    <a:srgbClr val="0087AF"/>
    <a:srgbClr val="1AB2E8"/>
    <a:srgbClr val="00AAEB"/>
    <a:srgbClr val="E04A3F"/>
    <a:srgbClr val="FFDC0D"/>
    <a:srgbClr val="D9B0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08"/>
    <p:restoredTop sz="94749"/>
  </p:normalViewPr>
  <p:slideViewPr>
    <p:cSldViewPr snapToGrid="0">
      <p:cViewPr varScale="1">
        <p:scale>
          <a:sx n="180" d="100"/>
          <a:sy n="180" d="100"/>
        </p:scale>
        <p:origin x="296" y="176"/>
      </p:cViewPr>
      <p:guideLst>
        <p:guide orient="horz" pos="159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A83A8-2E45-0548-B3C9-C096518BCF82}" type="datetimeFigureOut">
              <a:rPr lang="en-US" smtClean="0"/>
              <a:t>12/4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5028E8-0986-2C48-A24F-782A77C255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1429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894DD2-0DDA-C24C-A772-AE987C62F897}" type="datetimeFigureOut">
              <a:rPr lang="en-US" smtClean="0"/>
              <a:t>12/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24DC8D-BEC2-D34A-81E1-6AC3BD4AB1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25300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301037" y="498590"/>
            <a:ext cx="8541926" cy="338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7174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6847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buNone/>
              <a:defRPr>
                <a:latin typeface="Raleway"/>
                <a:cs typeface="Raleway"/>
              </a:defRPr>
            </a:lvl1pPr>
          </a:lstStyle>
          <a:p>
            <a:r>
              <a:rPr lang="en-US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5401196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4498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470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399803" y="562064"/>
            <a:ext cx="8318131" cy="0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919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12011"/>
            <a:ext cx="4038600" cy="33944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12011"/>
            <a:ext cx="4038600" cy="33944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863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Raleway"/>
                <a:cs typeface="Raleway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00823"/>
            <a:ext cx="4040188" cy="479822"/>
          </a:xfrm>
        </p:spPr>
        <p:txBody>
          <a:bodyPr anchor="b"/>
          <a:lstStyle>
            <a:lvl1pPr marL="0" indent="0">
              <a:buNone/>
              <a:defRPr sz="1800" b="1">
                <a:latin typeface="Raleway"/>
                <a:cs typeface="Raleway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80644"/>
            <a:ext cx="4040188" cy="2963466"/>
          </a:xfrm>
        </p:spPr>
        <p:txBody>
          <a:bodyPr>
            <a:normAutofit/>
          </a:bodyPr>
          <a:lstStyle>
            <a:lvl1pPr>
              <a:defRPr sz="1800">
                <a:latin typeface="Raleway"/>
                <a:cs typeface="Raleway"/>
              </a:defRPr>
            </a:lvl1pPr>
            <a:lvl2pPr>
              <a:defRPr sz="1600">
                <a:latin typeface="Raleway"/>
                <a:cs typeface="Raleway"/>
              </a:defRPr>
            </a:lvl2pPr>
            <a:lvl3pPr>
              <a:defRPr sz="1400">
                <a:latin typeface="Raleway"/>
                <a:cs typeface="Raleway"/>
              </a:defRPr>
            </a:lvl3pPr>
            <a:lvl4pPr>
              <a:defRPr sz="1200">
                <a:latin typeface="Raleway"/>
                <a:cs typeface="Raleway"/>
              </a:defRPr>
            </a:lvl4pPr>
            <a:lvl5pPr>
              <a:defRPr sz="1200">
                <a:latin typeface="Raleway"/>
                <a:cs typeface="Raleway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000823"/>
            <a:ext cx="4041775" cy="479822"/>
          </a:xfrm>
        </p:spPr>
        <p:txBody>
          <a:bodyPr anchor="b"/>
          <a:lstStyle>
            <a:lvl1pPr marL="0" indent="0">
              <a:buNone/>
              <a:defRPr sz="1800" b="1">
                <a:latin typeface="Raleway"/>
                <a:cs typeface="Raleway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480644"/>
            <a:ext cx="4041775" cy="2963466"/>
          </a:xfrm>
        </p:spPr>
        <p:txBody>
          <a:bodyPr>
            <a:normAutofit/>
          </a:bodyPr>
          <a:lstStyle>
            <a:lvl1pPr>
              <a:defRPr sz="1800">
                <a:latin typeface="Raleway"/>
                <a:cs typeface="Raleway"/>
              </a:defRPr>
            </a:lvl1pPr>
            <a:lvl2pPr>
              <a:defRPr sz="1600">
                <a:latin typeface="Raleway"/>
                <a:cs typeface="Raleway"/>
              </a:defRPr>
            </a:lvl2pPr>
            <a:lvl3pPr>
              <a:defRPr sz="1400">
                <a:latin typeface="Raleway"/>
                <a:cs typeface="Raleway"/>
              </a:defRPr>
            </a:lvl3pPr>
            <a:lvl4pPr>
              <a:defRPr sz="1200">
                <a:latin typeface="Raleway"/>
                <a:cs typeface="Raleway"/>
              </a:defRPr>
            </a:lvl4pPr>
            <a:lvl5pPr>
              <a:defRPr sz="1200">
                <a:latin typeface="Raleway"/>
                <a:cs typeface="Raleway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Raleway"/>
                <a:cs typeface="Raleway"/>
              </a:defRPr>
            </a:lvl1pPr>
          </a:lstStyle>
          <a:p>
            <a:r>
              <a:rPr lang="en-US"/>
              <a:t>www.bestppt.co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>
                <a:latin typeface="Raleway"/>
                <a:cs typeface="Raleway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726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4145935" y="4547419"/>
            <a:ext cx="942259" cy="53258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3466070"/>
            <a:ext cx="9144000" cy="16774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946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rrange avat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4145935" y="4547419"/>
            <a:ext cx="942259" cy="53258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2415382" y="1108869"/>
            <a:ext cx="4453731" cy="2928937"/>
            <a:chOff x="2415382" y="1108869"/>
            <a:chExt cx="4453731" cy="2928937"/>
          </a:xfrm>
        </p:grpSpPr>
        <p:sp>
          <p:nvSpPr>
            <p:cNvPr id="8" name="Freeform 38"/>
            <p:cNvSpPr>
              <a:spLocks/>
            </p:cNvSpPr>
            <p:nvPr/>
          </p:nvSpPr>
          <p:spPr bwMode="auto">
            <a:xfrm>
              <a:off x="4546600" y="199469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39"/>
            <p:cNvSpPr>
              <a:spLocks/>
            </p:cNvSpPr>
            <p:nvPr/>
          </p:nvSpPr>
          <p:spPr bwMode="auto">
            <a:xfrm>
              <a:off x="4546600" y="199469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40"/>
            <p:cNvSpPr>
              <a:spLocks/>
            </p:cNvSpPr>
            <p:nvPr/>
          </p:nvSpPr>
          <p:spPr bwMode="auto">
            <a:xfrm>
              <a:off x="5035550" y="1588294"/>
              <a:ext cx="268288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41"/>
            <p:cNvSpPr>
              <a:spLocks/>
            </p:cNvSpPr>
            <p:nvPr/>
          </p:nvSpPr>
          <p:spPr bwMode="auto">
            <a:xfrm>
              <a:off x="4859338" y="1553369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60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42"/>
            <p:cNvSpPr>
              <a:spLocks/>
            </p:cNvSpPr>
            <p:nvPr/>
          </p:nvSpPr>
          <p:spPr bwMode="auto">
            <a:xfrm>
              <a:off x="5365750" y="1553369"/>
              <a:ext cx="112713" cy="163513"/>
            </a:xfrm>
            <a:custGeom>
              <a:avLst/>
              <a:gdLst>
                <a:gd name="T0" fmla="*/ 51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1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1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6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1" y="5"/>
                  </a:cubicBezTo>
                  <a:close/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43"/>
            <p:cNvSpPr>
              <a:spLocks/>
            </p:cNvSpPr>
            <p:nvPr/>
          </p:nvSpPr>
          <p:spPr bwMode="auto">
            <a:xfrm>
              <a:off x="5024438" y="19581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4"/>
            <p:cNvSpPr>
              <a:spLocks/>
            </p:cNvSpPr>
            <p:nvPr/>
          </p:nvSpPr>
          <p:spPr bwMode="auto">
            <a:xfrm>
              <a:off x="5024438" y="19581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5"/>
            <p:cNvSpPr>
              <a:spLocks/>
            </p:cNvSpPr>
            <p:nvPr/>
          </p:nvSpPr>
          <p:spPr bwMode="auto">
            <a:xfrm>
              <a:off x="5035550" y="1902619"/>
              <a:ext cx="268288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A0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46"/>
            <p:cNvSpPr>
              <a:spLocks/>
            </p:cNvSpPr>
            <p:nvPr/>
          </p:nvSpPr>
          <p:spPr bwMode="auto">
            <a:xfrm>
              <a:off x="4757738" y="1205707"/>
              <a:ext cx="823913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7"/>
            <p:cNvSpPr>
              <a:spLocks/>
            </p:cNvSpPr>
            <p:nvPr/>
          </p:nvSpPr>
          <p:spPr bwMode="auto">
            <a:xfrm>
              <a:off x="4810125" y="1158082"/>
              <a:ext cx="673100" cy="517525"/>
            </a:xfrm>
            <a:custGeom>
              <a:avLst/>
              <a:gdLst>
                <a:gd name="T0" fmla="*/ 407 w 420"/>
                <a:gd name="T1" fmla="*/ 269 h 322"/>
                <a:gd name="T2" fmla="*/ 361 w 420"/>
                <a:gd name="T3" fmla="*/ 57 h 322"/>
                <a:gd name="T4" fmla="*/ 103 w 420"/>
                <a:gd name="T5" fmla="*/ 52 h 322"/>
                <a:gd name="T6" fmla="*/ 48 w 420"/>
                <a:gd name="T7" fmla="*/ 270 h 322"/>
                <a:gd name="T8" fmla="*/ 60 w 420"/>
                <a:gd name="T9" fmla="*/ 322 h 322"/>
                <a:gd name="T10" fmla="*/ 81 w 420"/>
                <a:gd name="T11" fmla="*/ 321 h 322"/>
                <a:gd name="T12" fmla="*/ 65 w 420"/>
                <a:gd name="T13" fmla="*/ 283 h 322"/>
                <a:gd name="T14" fmla="*/ 61 w 420"/>
                <a:gd name="T15" fmla="*/ 251 h 322"/>
                <a:gd name="T16" fmla="*/ 133 w 420"/>
                <a:gd name="T17" fmla="*/ 103 h 322"/>
                <a:gd name="T18" fmla="*/ 222 w 420"/>
                <a:gd name="T19" fmla="*/ 139 h 322"/>
                <a:gd name="T20" fmla="*/ 308 w 420"/>
                <a:gd name="T21" fmla="*/ 101 h 322"/>
                <a:gd name="T22" fmla="*/ 393 w 420"/>
                <a:gd name="T23" fmla="*/ 249 h 322"/>
                <a:gd name="T24" fmla="*/ 375 w 420"/>
                <a:gd name="T25" fmla="*/ 316 h 322"/>
                <a:gd name="T26" fmla="*/ 397 w 420"/>
                <a:gd name="T27" fmla="*/ 314 h 322"/>
                <a:gd name="T28" fmla="*/ 407 w 420"/>
                <a:gd name="T29" fmla="*/ 26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322">
                  <a:moveTo>
                    <a:pt x="407" y="269"/>
                  </a:moveTo>
                  <a:cubicBezTo>
                    <a:pt x="420" y="204"/>
                    <a:pt x="411" y="52"/>
                    <a:pt x="361" y="57"/>
                  </a:cubicBezTo>
                  <a:cubicBezTo>
                    <a:pt x="313" y="9"/>
                    <a:pt x="149" y="0"/>
                    <a:pt x="103" y="52"/>
                  </a:cubicBezTo>
                  <a:cubicBezTo>
                    <a:pt x="0" y="72"/>
                    <a:pt x="48" y="270"/>
                    <a:pt x="48" y="270"/>
                  </a:cubicBezTo>
                  <a:cubicBezTo>
                    <a:pt x="51" y="290"/>
                    <a:pt x="56" y="307"/>
                    <a:pt x="60" y="322"/>
                  </a:cubicBezTo>
                  <a:cubicBezTo>
                    <a:pt x="67" y="322"/>
                    <a:pt x="74" y="321"/>
                    <a:pt x="81" y="321"/>
                  </a:cubicBezTo>
                  <a:cubicBezTo>
                    <a:pt x="74" y="307"/>
                    <a:pt x="67" y="293"/>
                    <a:pt x="65" y="283"/>
                  </a:cubicBezTo>
                  <a:cubicBezTo>
                    <a:pt x="64" y="277"/>
                    <a:pt x="61" y="256"/>
                    <a:pt x="61" y="251"/>
                  </a:cubicBezTo>
                  <a:cubicBezTo>
                    <a:pt x="62" y="215"/>
                    <a:pt x="88" y="111"/>
                    <a:pt x="133" y="103"/>
                  </a:cubicBezTo>
                  <a:cubicBezTo>
                    <a:pt x="150" y="100"/>
                    <a:pt x="193" y="139"/>
                    <a:pt x="222" y="139"/>
                  </a:cubicBezTo>
                  <a:cubicBezTo>
                    <a:pt x="251" y="138"/>
                    <a:pt x="289" y="99"/>
                    <a:pt x="308" y="101"/>
                  </a:cubicBezTo>
                  <a:cubicBezTo>
                    <a:pt x="355" y="108"/>
                    <a:pt x="394" y="203"/>
                    <a:pt x="393" y="249"/>
                  </a:cubicBezTo>
                  <a:cubicBezTo>
                    <a:pt x="393" y="255"/>
                    <a:pt x="386" y="291"/>
                    <a:pt x="375" y="316"/>
                  </a:cubicBezTo>
                  <a:cubicBezTo>
                    <a:pt x="382" y="315"/>
                    <a:pt x="390" y="315"/>
                    <a:pt x="397" y="314"/>
                  </a:cubicBezTo>
                  <a:cubicBezTo>
                    <a:pt x="401" y="301"/>
                    <a:pt x="404" y="286"/>
                    <a:pt x="407" y="269"/>
                  </a:cubicBezTo>
                  <a:close/>
                </a:path>
              </a:pathLst>
            </a:custGeom>
            <a:solidFill>
              <a:srgbClr val="8060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8"/>
            <p:cNvSpPr>
              <a:spLocks/>
            </p:cNvSpPr>
            <p:nvPr/>
          </p:nvSpPr>
          <p:spPr bwMode="auto">
            <a:xfrm>
              <a:off x="5170488" y="1958182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8 h 179"/>
                <a:gd name="T4" fmla="*/ 70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9"/>
            <p:cNvSpPr>
              <a:spLocks/>
            </p:cNvSpPr>
            <p:nvPr/>
          </p:nvSpPr>
          <p:spPr bwMode="auto">
            <a:xfrm>
              <a:off x="5170488" y="1958182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8 h 179"/>
                <a:gd name="T4" fmla="*/ 70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5170488" y="212486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1"/>
            <p:cNvSpPr>
              <a:spLocks/>
            </p:cNvSpPr>
            <p:nvPr/>
          </p:nvSpPr>
          <p:spPr bwMode="auto">
            <a:xfrm>
              <a:off x="5170488" y="212486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52"/>
            <p:cNvSpPr>
              <a:spLocks/>
            </p:cNvSpPr>
            <p:nvPr/>
          </p:nvSpPr>
          <p:spPr bwMode="auto">
            <a:xfrm>
              <a:off x="5035550" y="19534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E9BE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53"/>
            <p:cNvSpPr>
              <a:spLocks/>
            </p:cNvSpPr>
            <p:nvPr/>
          </p:nvSpPr>
          <p:spPr bwMode="auto">
            <a:xfrm>
              <a:off x="5035550" y="19534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54"/>
            <p:cNvSpPr>
              <a:spLocks noChangeArrowheads="1"/>
            </p:cNvSpPr>
            <p:nvPr/>
          </p:nvSpPr>
          <p:spPr bwMode="auto">
            <a:xfrm>
              <a:off x="5145088" y="2237582"/>
              <a:ext cx="49213" cy="1588"/>
            </a:xfrm>
            <a:prstGeom prst="rect">
              <a:avLst/>
            </a:prstGeom>
            <a:solidFill>
              <a:srgbClr val="2E2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55"/>
            <p:cNvSpPr>
              <a:spLocks noChangeArrowheads="1"/>
            </p:cNvSpPr>
            <p:nvPr/>
          </p:nvSpPr>
          <p:spPr bwMode="auto">
            <a:xfrm>
              <a:off x="5145088" y="2237582"/>
              <a:ext cx="49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56"/>
            <p:cNvSpPr>
              <a:spLocks/>
            </p:cNvSpPr>
            <p:nvPr/>
          </p:nvSpPr>
          <p:spPr bwMode="auto">
            <a:xfrm>
              <a:off x="5011738" y="1745457"/>
              <a:ext cx="315913" cy="46038"/>
            </a:xfrm>
            <a:custGeom>
              <a:avLst/>
              <a:gdLst>
                <a:gd name="T0" fmla="*/ 105 w 197"/>
                <a:gd name="T1" fmla="*/ 0 h 29"/>
                <a:gd name="T2" fmla="*/ 99 w 197"/>
                <a:gd name="T3" fmla="*/ 5 h 29"/>
                <a:gd name="T4" fmla="*/ 92 w 197"/>
                <a:gd name="T5" fmla="*/ 0 h 29"/>
                <a:gd name="T6" fmla="*/ 0 w 197"/>
                <a:gd name="T7" fmla="*/ 29 h 29"/>
                <a:gd name="T8" fmla="*/ 90 w 197"/>
                <a:gd name="T9" fmla="*/ 26 h 29"/>
                <a:gd name="T10" fmla="*/ 99 w 197"/>
                <a:gd name="T11" fmla="*/ 15 h 29"/>
                <a:gd name="T12" fmla="*/ 107 w 197"/>
                <a:gd name="T13" fmla="*/ 26 h 29"/>
                <a:gd name="T14" fmla="*/ 197 w 197"/>
                <a:gd name="T15" fmla="*/ 29 h 29"/>
                <a:gd name="T16" fmla="*/ 105 w 197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" h="29">
                  <a:moveTo>
                    <a:pt x="105" y="0"/>
                  </a:moveTo>
                  <a:cubicBezTo>
                    <a:pt x="101" y="0"/>
                    <a:pt x="99" y="5"/>
                    <a:pt x="99" y="5"/>
                  </a:cubicBezTo>
                  <a:cubicBezTo>
                    <a:pt x="99" y="5"/>
                    <a:pt x="96" y="0"/>
                    <a:pt x="92" y="0"/>
                  </a:cubicBezTo>
                  <a:cubicBezTo>
                    <a:pt x="78" y="0"/>
                    <a:pt x="17" y="6"/>
                    <a:pt x="0" y="29"/>
                  </a:cubicBezTo>
                  <a:cubicBezTo>
                    <a:pt x="0" y="29"/>
                    <a:pt x="85" y="27"/>
                    <a:pt x="90" y="26"/>
                  </a:cubicBezTo>
                  <a:cubicBezTo>
                    <a:pt x="94" y="24"/>
                    <a:pt x="99" y="15"/>
                    <a:pt x="99" y="15"/>
                  </a:cubicBezTo>
                  <a:cubicBezTo>
                    <a:pt x="99" y="15"/>
                    <a:pt x="103" y="24"/>
                    <a:pt x="107" y="26"/>
                  </a:cubicBezTo>
                  <a:cubicBezTo>
                    <a:pt x="112" y="27"/>
                    <a:pt x="197" y="29"/>
                    <a:pt x="197" y="29"/>
                  </a:cubicBezTo>
                  <a:cubicBezTo>
                    <a:pt x="180" y="6"/>
                    <a:pt x="120" y="0"/>
                    <a:pt x="105" y="0"/>
                  </a:cubicBezTo>
                  <a:close/>
                </a:path>
              </a:pathLst>
            </a:custGeom>
            <a:solidFill>
              <a:srgbClr val="8060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57"/>
            <p:cNvSpPr>
              <a:spLocks/>
            </p:cNvSpPr>
            <p:nvPr/>
          </p:nvSpPr>
          <p:spPr bwMode="auto">
            <a:xfrm>
              <a:off x="3454400" y="19946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58"/>
            <p:cNvSpPr>
              <a:spLocks/>
            </p:cNvSpPr>
            <p:nvPr/>
          </p:nvSpPr>
          <p:spPr bwMode="auto">
            <a:xfrm>
              <a:off x="3454400" y="19946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9"/>
            <p:cNvSpPr>
              <a:spLocks/>
            </p:cNvSpPr>
            <p:nvPr/>
          </p:nvSpPr>
          <p:spPr bwMode="auto">
            <a:xfrm>
              <a:off x="3944938" y="1588294"/>
              <a:ext cx="266700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0"/>
            <p:cNvSpPr>
              <a:spLocks/>
            </p:cNvSpPr>
            <p:nvPr/>
          </p:nvSpPr>
          <p:spPr bwMode="auto">
            <a:xfrm>
              <a:off x="3767138" y="1553369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60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1"/>
            <p:cNvSpPr>
              <a:spLocks/>
            </p:cNvSpPr>
            <p:nvPr/>
          </p:nvSpPr>
          <p:spPr bwMode="auto">
            <a:xfrm>
              <a:off x="4275138" y="1553369"/>
              <a:ext cx="112713" cy="163513"/>
            </a:xfrm>
            <a:custGeom>
              <a:avLst/>
              <a:gdLst>
                <a:gd name="T0" fmla="*/ 51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1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1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6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1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2"/>
            <p:cNvSpPr>
              <a:spLocks/>
            </p:cNvSpPr>
            <p:nvPr/>
          </p:nvSpPr>
          <p:spPr bwMode="auto">
            <a:xfrm>
              <a:off x="3944938" y="1902619"/>
              <a:ext cx="266700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A7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3"/>
            <p:cNvSpPr>
              <a:spLocks/>
            </p:cNvSpPr>
            <p:nvPr/>
          </p:nvSpPr>
          <p:spPr bwMode="auto">
            <a:xfrm>
              <a:off x="3667125" y="1205707"/>
              <a:ext cx="822325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/>
            <p:cNvSpPr>
              <a:spLocks noEditPoints="1"/>
            </p:cNvSpPr>
            <p:nvPr/>
          </p:nvSpPr>
          <p:spPr bwMode="auto">
            <a:xfrm>
              <a:off x="3762375" y="1108869"/>
              <a:ext cx="649288" cy="582613"/>
            </a:xfrm>
            <a:custGeom>
              <a:avLst/>
              <a:gdLst>
                <a:gd name="T0" fmla="*/ 312 w 404"/>
                <a:gd name="T1" fmla="*/ 68 h 363"/>
                <a:gd name="T2" fmla="*/ 51 w 404"/>
                <a:gd name="T3" fmla="*/ 97 h 363"/>
                <a:gd name="T4" fmla="*/ 30 w 404"/>
                <a:gd name="T5" fmla="*/ 357 h 363"/>
                <a:gd name="T6" fmla="*/ 30 w 404"/>
                <a:gd name="T7" fmla="*/ 357 h 363"/>
                <a:gd name="T8" fmla="*/ 31 w 404"/>
                <a:gd name="T9" fmla="*/ 360 h 363"/>
                <a:gd name="T10" fmla="*/ 33 w 404"/>
                <a:gd name="T11" fmla="*/ 363 h 363"/>
                <a:gd name="T12" fmla="*/ 37 w 404"/>
                <a:gd name="T13" fmla="*/ 362 h 363"/>
                <a:gd name="T14" fmla="*/ 38 w 404"/>
                <a:gd name="T15" fmla="*/ 361 h 363"/>
                <a:gd name="T16" fmla="*/ 38 w 404"/>
                <a:gd name="T17" fmla="*/ 339 h 363"/>
                <a:gd name="T18" fmla="*/ 33 w 404"/>
                <a:gd name="T19" fmla="*/ 307 h 363"/>
                <a:gd name="T20" fmla="*/ 77 w 404"/>
                <a:gd name="T21" fmla="*/ 183 h 363"/>
                <a:gd name="T22" fmla="*/ 86 w 404"/>
                <a:gd name="T23" fmla="*/ 171 h 363"/>
                <a:gd name="T24" fmla="*/ 97 w 404"/>
                <a:gd name="T25" fmla="*/ 158 h 363"/>
                <a:gd name="T26" fmla="*/ 103 w 404"/>
                <a:gd name="T27" fmla="*/ 154 h 363"/>
                <a:gd name="T28" fmla="*/ 242 w 404"/>
                <a:gd name="T29" fmla="*/ 175 h 363"/>
                <a:gd name="T30" fmla="*/ 280 w 404"/>
                <a:gd name="T31" fmla="*/ 151 h 363"/>
                <a:gd name="T32" fmla="*/ 311 w 404"/>
                <a:gd name="T33" fmla="*/ 176 h 363"/>
                <a:gd name="T34" fmla="*/ 360 w 404"/>
                <a:gd name="T35" fmla="*/ 315 h 363"/>
                <a:gd name="T36" fmla="*/ 356 w 404"/>
                <a:gd name="T37" fmla="*/ 339 h 363"/>
                <a:gd name="T38" fmla="*/ 356 w 404"/>
                <a:gd name="T39" fmla="*/ 361 h 363"/>
                <a:gd name="T40" fmla="*/ 357 w 404"/>
                <a:gd name="T41" fmla="*/ 362 h 363"/>
                <a:gd name="T42" fmla="*/ 361 w 404"/>
                <a:gd name="T43" fmla="*/ 363 h 363"/>
                <a:gd name="T44" fmla="*/ 363 w 404"/>
                <a:gd name="T45" fmla="*/ 360 h 363"/>
                <a:gd name="T46" fmla="*/ 364 w 404"/>
                <a:gd name="T47" fmla="*/ 351 h 363"/>
                <a:gd name="T48" fmla="*/ 366 w 404"/>
                <a:gd name="T49" fmla="*/ 338 h 363"/>
                <a:gd name="T50" fmla="*/ 312 w 404"/>
                <a:gd name="T51" fmla="*/ 68 h 363"/>
                <a:gd name="T52" fmla="*/ 180 w 404"/>
                <a:gd name="T53" fmla="*/ 135 h 363"/>
                <a:gd name="T54" fmla="*/ 176 w 404"/>
                <a:gd name="T55" fmla="*/ 134 h 363"/>
                <a:gd name="T56" fmla="*/ 182 w 404"/>
                <a:gd name="T57" fmla="*/ 135 h 363"/>
                <a:gd name="T58" fmla="*/ 180 w 404"/>
                <a:gd name="T59" fmla="*/ 1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4" h="363">
                  <a:moveTo>
                    <a:pt x="312" y="68"/>
                  </a:moveTo>
                  <a:cubicBezTo>
                    <a:pt x="225" y="0"/>
                    <a:pt x="91" y="40"/>
                    <a:pt x="51" y="97"/>
                  </a:cubicBezTo>
                  <a:cubicBezTo>
                    <a:pt x="0" y="168"/>
                    <a:pt x="18" y="276"/>
                    <a:pt x="30" y="357"/>
                  </a:cubicBezTo>
                  <a:cubicBezTo>
                    <a:pt x="30" y="357"/>
                    <a:pt x="30" y="357"/>
                    <a:pt x="30" y="357"/>
                  </a:cubicBezTo>
                  <a:cubicBezTo>
                    <a:pt x="30" y="358"/>
                    <a:pt x="30" y="359"/>
                    <a:pt x="31" y="360"/>
                  </a:cubicBezTo>
                  <a:cubicBezTo>
                    <a:pt x="31" y="360"/>
                    <a:pt x="32" y="362"/>
                    <a:pt x="33" y="363"/>
                  </a:cubicBezTo>
                  <a:cubicBezTo>
                    <a:pt x="33" y="363"/>
                    <a:pt x="36" y="363"/>
                    <a:pt x="37" y="362"/>
                  </a:cubicBezTo>
                  <a:cubicBezTo>
                    <a:pt x="38" y="362"/>
                    <a:pt x="38" y="361"/>
                    <a:pt x="38" y="361"/>
                  </a:cubicBezTo>
                  <a:cubicBezTo>
                    <a:pt x="38" y="354"/>
                    <a:pt x="38" y="340"/>
                    <a:pt x="38" y="339"/>
                  </a:cubicBezTo>
                  <a:cubicBezTo>
                    <a:pt x="37" y="328"/>
                    <a:pt x="34" y="318"/>
                    <a:pt x="33" y="307"/>
                  </a:cubicBezTo>
                  <a:cubicBezTo>
                    <a:pt x="41" y="255"/>
                    <a:pt x="65" y="245"/>
                    <a:pt x="77" y="183"/>
                  </a:cubicBezTo>
                  <a:cubicBezTo>
                    <a:pt x="80" y="179"/>
                    <a:pt x="83" y="175"/>
                    <a:pt x="86" y="171"/>
                  </a:cubicBezTo>
                  <a:cubicBezTo>
                    <a:pt x="89" y="167"/>
                    <a:pt x="93" y="162"/>
                    <a:pt x="97" y="158"/>
                  </a:cubicBezTo>
                  <a:cubicBezTo>
                    <a:pt x="99" y="157"/>
                    <a:pt x="101" y="156"/>
                    <a:pt x="103" y="154"/>
                  </a:cubicBezTo>
                  <a:cubicBezTo>
                    <a:pt x="150" y="137"/>
                    <a:pt x="198" y="158"/>
                    <a:pt x="242" y="175"/>
                  </a:cubicBezTo>
                  <a:cubicBezTo>
                    <a:pt x="259" y="182"/>
                    <a:pt x="261" y="152"/>
                    <a:pt x="280" y="151"/>
                  </a:cubicBezTo>
                  <a:cubicBezTo>
                    <a:pt x="288" y="150"/>
                    <a:pt x="304" y="177"/>
                    <a:pt x="311" y="176"/>
                  </a:cubicBezTo>
                  <a:cubicBezTo>
                    <a:pt x="377" y="169"/>
                    <a:pt x="349" y="269"/>
                    <a:pt x="360" y="315"/>
                  </a:cubicBezTo>
                  <a:cubicBezTo>
                    <a:pt x="358" y="323"/>
                    <a:pt x="357" y="331"/>
                    <a:pt x="356" y="339"/>
                  </a:cubicBezTo>
                  <a:cubicBezTo>
                    <a:pt x="356" y="340"/>
                    <a:pt x="356" y="354"/>
                    <a:pt x="356" y="361"/>
                  </a:cubicBezTo>
                  <a:cubicBezTo>
                    <a:pt x="356" y="361"/>
                    <a:pt x="356" y="362"/>
                    <a:pt x="357" y="362"/>
                  </a:cubicBezTo>
                  <a:cubicBezTo>
                    <a:pt x="358" y="363"/>
                    <a:pt x="361" y="363"/>
                    <a:pt x="361" y="363"/>
                  </a:cubicBezTo>
                  <a:cubicBezTo>
                    <a:pt x="362" y="362"/>
                    <a:pt x="363" y="360"/>
                    <a:pt x="363" y="360"/>
                  </a:cubicBezTo>
                  <a:cubicBezTo>
                    <a:pt x="364" y="356"/>
                    <a:pt x="364" y="354"/>
                    <a:pt x="364" y="351"/>
                  </a:cubicBezTo>
                  <a:cubicBezTo>
                    <a:pt x="365" y="347"/>
                    <a:pt x="365" y="342"/>
                    <a:pt x="366" y="338"/>
                  </a:cubicBezTo>
                  <a:cubicBezTo>
                    <a:pt x="379" y="288"/>
                    <a:pt x="404" y="89"/>
                    <a:pt x="312" y="68"/>
                  </a:cubicBezTo>
                  <a:close/>
                  <a:moveTo>
                    <a:pt x="180" y="135"/>
                  </a:moveTo>
                  <a:cubicBezTo>
                    <a:pt x="179" y="135"/>
                    <a:pt x="177" y="134"/>
                    <a:pt x="176" y="134"/>
                  </a:cubicBezTo>
                  <a:cubicBezTo>
                    <a:pt x="178" y="134"/>
                    <a:pt x="180" y="135"/>
                    <a:pt x="182" y="135"/>
                  </a:cubicBezTo>
                  <a:cubicBezTo>
                    <a:pt x="182" y="135"/>
                    <a:pt x="181" y="135"/>
                    <a:pt x="180" y="13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65"/>
            <p:cNvSpPr>
              <a:spLocks noChangeArrowheads="1"/>
            </p:cNvSpPr>
            <p:nvPr/>
          </p:nvSpPr>
          <p:spPr bwMode="auto">
            <a:xfrm>
              <a:off x="4052888" y="2237582"/>
              <a:ext cx="50800" cy="1588"/>
            </a:xfrm>
            <a:prstGeom prst="rect">
              <a:avLst/>
            </a:prstGeom>
            <a:solidFill>
              <a:srgbClr val="B532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66"/>
            <p:cNvSpPr>
              <a:spLocks noChangeArrowheads="1"/>
            </p:cNvSpPr>
            <p:nvPr/>
          </p:nvSpPr>
          <p:spPr bwMode="auto">
            <a:xfrm>
              <a:off x="4052888" y="2237582"/>
              <a:ext cx="50800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7"/>
            <p:cNvSpPr>
              <a:spLocks/>
            </p:cNvSpPr>
            <p:nvPr/>
          </p:nvSpPr>
          <p:spPr bwMode="auto">
            <a:xfrm>
              <a:off x="3640138" y="1173957"/>
              <a:ext cx="609600" cy="360363"/>
            </a:xfrm>
            <a:custGeom>
              <a:avLst/>
              <a:gdLst>
                <a:gd name="T0" fmla="*/ 323 w 380"/>
                <a:gd name="T1" fmla="*/ 52 h 225"/>
                <a:gd name="T2" fmla="*/ 182 w 380"/>
                <a:gd name="T3" fmla="*/ 28 h 225"/>
                <a:gd name="T4" fmla="*/ 42 w 380"/>
                <a:gd name="T5" fmla="*/ 48 h 225"/>
                <a:gd name="T6" fmla="*/ 78 w 380"/>
                <a:gd name="T7" fmla="*/ 180 h 225"/>
                <a:gd name="T8" fmla="*/ 268 w 380"/>
                <a:gd name="T9" fmla="*/ 161 h 225"/>
                <a:gd name="T10" fmla="*/ 358 w 380"/>
                <a:gd name="T11" fmla="*/ 97 h 225"/>
                <a:gd name="T12" fmla="*/ 323 w 380"/>
                <a:gd name="T13" fmla="*/ 5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0" h="225">
                  <a:moveTo>
                    <a:pt x="323" y="52"/>
                  </a:moveTo>
                  <a:cubicBezTo>
                    <a:pt x="323" y="52"/>
                    <a:pt x="248" y="0"/>
                    <a:pt x="182" y="28"/>
                  </a:cubicBezTo>
                  <a:cubicBezTo>
                    <a:pt x="115" y="56"/>
                    <a:pt x="56" y="66"/>
                    <a:pt x="42" y="48"/>
                  </a:cubicBezTo>
                  <a:cubicBezTo>
                    <a:pt x="42" y="48"/>
                    <a:pt x="0" y="134"/>
                    <a:pt x="78" y="180"/>
                  </a:cubicBezTo>
                  <a:cubicBezTo>
                    <a:pt x="155" y="225"/>
                    <a:pt x="243" y="189"/>
                    <a:pt x="268" y="161"/>
                  </a:cubicBezTo>
                  <a:cubicBezTo>
                    <a:pt x="294" y="133"/>
                    <a:pt x="335" y="88"/>
                    <a:pt x="358" y="97"/>
                  </a:cubicBezTo>
                  <a:cubicBezTo>
                    <a:pt x="380" y="106"/>
                    <a:pt x="323" y="52"/>
                    <a:pt x="323" y="52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8"/>
            <p:cNvSpPr>
              <a:spLocks/>
            </p:cNvSpPr>
            <p:nvPr/>
          </p:nvSpPr>
          <p:spPr bwMode="auto">
            <a:xfrm>
              <a:off x="2844800" y="254714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9"/>
            <p:cNvSpPr>
              <a:spLocks/>
            </p:cNvSpPr>
            <p:nvPr/>
          </p:nvSpPr>
          <p:spPr bwMode="auto">
            <a:xfrm>
              <a:off x="2844800" y="254714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0"/>
            <p:cNvSpPr>
              <a:spLocks/>
            </p:cNvSpPr>
            <p:nvPr/>
          </p:nvSpPr>
          <p:spPr bwMode="auto">
            <a:xfrm>
              <a:off x="3335338" y="2140744"/>
              <a:ext cx="266700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71"/>
            <p:cNvSpPr>
              <a:spLocks/>
            </p:cNvSpPr>
            <p:nvPr/>
          </p:nvSpPr>
          <p:spPr bwMode="auto">
            <a:xfrm>
              <a:off x="3157538" y="2105819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60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2"/>
            <p:cNvSpPr>
              <a:spLocks/>
            </p:cNvSpPr>
            <p:nvPr/>
          </p:nvSpPr>
          <p:spPr bwMode="auto">
            <a:xfrm>
              <a:off x="3665538" y="2105819"/>
              <a:ext cx="112713" cy="163513"/>
            </a:xfrm>
            <a:custGeom>
              <a:avLst/>
              <a:gdLst>
                <a:gd name="T0" fmla="*/ 51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1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1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6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1" y="5"/>
                  </a:cubicBezTo>
                  <a:close/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75"/>
            <p:cNvSpPr>
              <a:spLocks/>
            </p:cNvSpPr>
            <p:nvPr/>
          </p:nvSpPr>
          <p:spPr bwMode="auto">
            <a:xfrm>
              <a:off x="3543300" y="2550319"/>
              <a:ext cx="234950" cy="561975"/>
            </a:xfrm>
            <a:custGeom>
              <a:avLst/>
              <a:gdLst>
                <a:gd name="T0" fmla="*/ 37 w 148"/>
                <a:gd name="T1" fmla="*/ 0 h 354"/>
                <a:gd name="T2" fmla="*/ 37 w 148"/>
                <a:gd name="T3" fmla="*/ 39 h 354"/>
                <a:gd name="T4" fmla="*/ 0 w 148"/>
                <a:gd name="T5" fmla="*/ 354 h 354"/>
                <a:gd name="T6" fmla="*/ 64 w 148"/>
                <a:gd name="T7" fmla="*/ 354 h 354"/>
                <a:gd name="T8" fmla="*/ 132 w 148"/>
                <a:gd name="T9" fmla="*/ 214 h 354"/>
                <a:gd name="T10" fmla="*/ 67 w 148"/>
                <a:gd name="T11" fmla="*/ 169 h 354"/>
                <a:gd name="T12" fmla="*/ 148 w 148"/>
                <a:gd name="T13" fmla="*/ 132 h 354"/>
                <a:gd name="T14" fmla="*/ 81 w 148"/>
                <a:gd name="T15" fmla="*/ 20 h 354"/>
                <a:gd name="T16" fmla="*/ 37 w 148"/>
                <a:gd name="T1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354">
                  <a:moveTo>
                    <a:pt x="37" y="0"/>
                  </a:moveTo>
                  <a:lnTo>
                    <a:pt x="37" y="39"/>
                  </a:lnTo>
                  <a:lnTo>
                    <a:pt x="0" y="354"/>
                  </a:lnTo>
                  <a:lnTo>
                    <a:pt x="64" y="354"/>
                  </a:lnTo>
                  <a:lnTo>
                    <a:pt x="132" y="214"/>
                  </a:lnTo>
                  <a:lnTo>
                    <a:pt x="67" y="169"/>
                  </a:lnTo>
                  <a:lnTo>
                    <a:pt x="148" y="132"/>
                  </a:lnTo>
                  <a:lnTo>
                    <a:pt x="81" y="2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1B1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82"/>
            <p:cNvSpPr>
              <a:spLocks/>
            </p:cNvSpPr>
            <p:nvPr/>
          </p:nvSpPr>
          <p:spPr bwMode="auto">
            <a:xfrm>
              <a:off x="3057525" y="1758157"/>
              <a:ext cx="822325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93"/>
            <p:cNvSpPr>
              <a:spLocks/>
            </p:cNvSpPr>
            <p:nvPr/>
          </p:nvSpPr>
          <p:spPr bwMode="auto">
            <a:xfrm>
              <a:off x="3194050" y="2169319"/>
              <a:ext cx="547688" cy="347663"/>
            </a:xfrm>
            <a:custGeom>
              <a:avLst/>
              <a:gdLst>
                <a:gd name="T0" fmla="*/ 338 w 342"/>
                <a:gd name="T1" fmla="*/ 4 h 217"/>
                <a:gd name="T2" fmla="*/ 336 w 342"/>
                <a:gd name="T3" fmla="*/ 13 h 217"/>
                <a:gd name="T4" fmla="*/ 293 w 342"/>
                <a:gd name="T5" fmla="*/ 115 h 217"/>
                <a:gd name="T6" fmla="*/ 172 w 342"/>
                <a:gd name="T7" fmla="*/ 192 h 217"/>
                <a:gd name="T8" fmla="*/ 51 w 342"/>
                <a:gd name="T9" fmla="*/ 119 h 217"/>
                <a:gd name="T10" fmla="*/ 7 w 342"/>
                <a:gd name="T11" fmla="*/ 13 h 217"/>
                <a:gd name="T12" fmla="*/ 5 w 342"/>
                <a:gd name="T13" fmla="*/ 0 h 217"/>
                <a:gd name="T14" fmla="*/ 0 w 342"/>
                <a:gd name="T15" fmla="*/ 35 h 217"/>
                <a:gd name="T16" fmla="*/ 29 w 342"/>
                <a:gd name="T17" fmla="*/ 125 h 217"/>
                <a:gd name="T18" fmla="*/ 170 w 342"/>
                <a:gd name="T19" fmla="*/ 217 h 217"/>
                <a:gd name="T20" fmla="*/ 311 w 342"/>
                <a:gd name="T21" fmla="*/ 125 h 217"/>
                <a:gd name="T22" fmla="*/ 340 w 342"/>
                <a:gd name="T23" fmla="*/ 30 h 217"/>
                <a:gd name="T24" fmla="*/ 338 w 342"/>
                <a:gd name="T2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2" h="217">
                  <a:moveTo>
                    <a:pt x="338" y="4"/>
                  </a:moveTo>
                  <a:cubicBezTo>
                    <a:pt x="337" y="9"/>
                    <a:pt x="336" y="13"/>
                    <a:pt x="336" y="13"/>
                  </a:cubicBezTo>
                  <a:cubicBezTo>
                    <a:pt x="336" y="13"/>
                    <a:pt x="313" y="91"/>
                    <a:pt x="293" y="115"/>
                  </a:cubicBezTo>
                  <a:cubicBezTo>
                    <a:pt x="255" y="162"/>
                    <a:pt x="205" y="191"/>
                    <a:pt x="172" y="192"/>
                  </a:cubicBezTo>
                  <a:cubicBezTo>
                    <a:pt x="138" y="192"/>
                    <a:pt x="89" y="165"/>
                    <a:pt x="51" y="119"/>
                  </a:cubicBezTo>
                  <a:cubicBezTo>
                    <a:pt x="36" y="101"/>
                    <a:pt x="8" y="20"/>
                    <a:pt x="7" y="13"/>
                  </a:cubicBezTo>
                  <a:cubicBezTo>
                    <a:pt x="7" y="9"/>
                    <a:pt x="6" y="4"/>
                    <a:pt x="5" y="0"/>
                  </a:cubicBezTo>
                  <a:cubicBezTo>
                    <a:pt x="0" y="0"/>
                    <a:pt x="0" y="35"/>
                    <a:pt x="0" y="35"/>
                  </a:cubicBezTo>
                  <a:cubicBezTo>
                    <a:pt x="7" y="76"/>
                    <a:pt x="13" y="102"/>
                    <a:pt x="29" y="125"/>
                  </a:cubicBezTo>
                  <a:cubicBezTo>
                    <a:pt x="54" y="160"/>
                    <a:pt x="126" y="217"/>
                    <a:pt x="170" y="217"/>
                  </a:cubicBezTo>
                  <a:cubicBezTo>
                    <a:pt x="214" y="217"/>
                    <a:pt x="285" y="160"/>
                    <a:pt x="311" y="125"/>
                  </a:cubicBezTo>
                  <a:cubicBezTo>
                    <a:pt x="327" y="102"/>
                    <a:pt x="331" y="72"/>
                    <a:pt x="340" y="30"/>
                  </a:cubicBezTo>
                  <a:cubicBezTo>
                    <a:pt x="340" y="30"/>
                    <a:pt x="342" y="4"/>
                    <a:pt x="338" y="4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95"/>
            <p:cNvSpPr>
              <a:spLocks noEditPoints="1"/>
            </p:cNvSpPr>
            <p:nvPr/>
          </p:nvSpPr>
          <p:spPr bwMode="auto">
            <a:xfrm>
              <a:off x="3222625" y="2077244"/>
              <a:ext cx="504825" cy="184150"/>
            </a:xfrm>
            <a:custGeom>
              <a:avLst/>
              <a:gdLst>
                <a:gd name="T0" fmla="*/ 235 w 315"/>
                <a:gd name="T1" fmla="*/ 114 h 115"/>
                <a:gd name="T2" fmla="*/ 240 w 315"/>
                <a:gd name="T3" fmla="*/ 114 h 115"/>
                <a:gd name="T4" fmla="*/ 296 w 315"/>
                <a:gd name="T5" fmla="*/ 68 h 115"/>
                <a:gd name="T6" fmla="*/ 308 w 315"/>
                <a:gd name="T7" fmla="*/ 30 h 115"/>
                <a:gd name="T8" fmla="*/ 314 w 315"/>
                <a:gd name="T9" fmla="*/ 16 h 115"/>
                <a:gd name="T10" fmla="*/ 306 w 315"/>
                <a:gd name="T11" fmla="*/ 6 h 115"/>
                <a:gd name="T12" fmla="*/ 237 w 315"/>
                <a:gd name="T13" fmla="*/ 2 h 115"/>
                <a:gd name="T14" fmla="*/ 237 w 315"/>
                <a:gd name="T15" fmla="*/ 9 h 115"/>
                <a:gd name="T16" fmla="*/ 284 w 315"/>
                <a:gd name="T17" fmla="*/ 14 h 115"/>
                <a:gd name="T18" fmla="*/ 282 w 315"/>
                <a:gd name="T19" fmla="*/ 85 h 115"/>
                <a:gd name="T20" fmla="*/ 235 w 315"/>
                <a:gd name="T21" fmla="*/ 107 h 115"/>
                <a:gd name="T22" fmla="*/ 235 w 315"/>
                <a:gd name="T23" fmla="*/ 114 h 115"/>
                <a:gd name="T24" fmla="*/ 157 w 315"/>
                <a:gd name="T25" fmla="*/ 15 h 115"/>
                <a:gd name="T26" fmla="*/ 83 w 315"/>
                <a:gd name="T27" fmla="*/ 2 h 115"/>
                <a:gd name="T28" fmla="*/ 78 w 315"/>
                <a:gd name="T29" fmla="*/ 2 h 115"/>
                <a:gd name="T30" fmla="*/ 77 w 315"/>
                <a:gd name="T31" fmla="*/ 9 h 115"/>
                <a:gd name="T32" fmla="*/ 129 w 315"/>
                <a:gd name="T33" fmla="*/ 27 h 115"/>
                <a:gd name="T34" fmla="*/ 99 w 315"/>
                <a:gd name="T35" fmla="*/ 103 h 115"/>
                <a:gd name="T36" fmla="*/ 76 w 315"/>
                <a:gd name="T37" fmla="*/ 108 h 115"/>
                <a:gd name="T38" fmla="*/ 75 w 315"/>
                <a:gd name="T39" fmla="*/ 114 h 115"/>
                <a:gd name="T40" fmla="*/ 129 w 315"/>
                <a:gd name="T41" fmla="*/ 80 h 115"/>
                <a:gd name="T42" fmla="*/ 157 w 315"/>
                <a:gd name="T43" fmla="*/ 41 h 115"/>
                <a:gd name="T44" fmla="*/ 182 w 315"/>
                <a:gd name="T45" fmla="*/ 79 h 115"/>
                <a:gd name="T46" fmla="*/ 235 w 315"/>
                <a:gd name="T47" fmla="*/ 114 h 115"/>
                <a:gd name="T48" fmla="*/ 235 w 315"/>
                <a:gd name="T49" fmla="*/ 107 h 115"/>
                <a:gd name="T50" fmla="*/ 211 w 315"/>
                <a:gd name="T51" fmla="*/ 102 h 115"/>
                <a:gd name="T52" fmla="*/ 185 w 315"/>
                <a:gd name="T53" fmla="*/ 26 h 115"/>
                <a:gd name="T54" fmla="*/ 237 w 315"/>
                <a:gd name="T55" fmla="*/ 9 h 115"/>
                <a:gd name="T56" fmla="*/ 237 w 315"/>
                <a:gd name="T57" fmla="*/ 2 h 115"/>
                <a:gd name="T58" fmla="*/ 232 w 315"/>
                <a:gd name="T59" fmla="*/ 2 h 115"/>
                <a:gd name="T60" fmla="*/ 157 w 315"/>
                <a:gd name="T61" fmla="*/ 15 h 115"/>
                <a:gd name="T62" fmla="*/ 78 w 315"/>
                <a:gd name="T63" fmla="*/ 2 h 115"/>
                <a:gd name="T64" fmla="*/ 10 w 315"/>
                <a:gd name="T65" fmla="*/ 6 h 115"/>
                <a:gd name="T66" fmla="*/ 0 w 315"/>
                <a:gd name="T67" fmla="*/ 17 h 115"/>
                <a:gd name="T68" fmla="*/ 5 w 315"/>
                <a:gd name="T69" fmla="*/ 31 h 115"/>
                <a:gd name="T70" fmla="*/ 15 w 315"/>
                <a:gd name="T71" fmla="*/ 68 h 115"/>
                <a:gd name="T72" fmla="*/ 69 w 315"/>
                <a:gd name="T73" fmla="*/ 114 h 115"/>
                <a:gd name="T74" fmla="*/ 75 w 315"/>
                <a:gd name="T75" fmla="*/ 114 h 115"/>
                <a:gd name="T76" fmla="*/ 76 w 315"/>
                <a:gd name="T77" fmla="*/ 108 h 115"/>
                <a:gd name="T78" fmla="*/ 28 w 315"/>
                <a:gd name="T79" fmla="*/ 86 h 115"/>
                <a:gd name="T80" fmla="*/ 31 w 315"/>
                <a:gd name="T81" fmla="*/ 14 h 115"/>
                <a:gd name="T82" fmla="*/ 77 w 315"/>
                <a:gd name="T83" fmla="*/ 9 h 115"/>
                <a:gd name="T84" fmla="*/ 78 w 315"/>
                <a:gd name="T85" fmla="*/ 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15">
                  <a:moveTo>
                    <a:pt x="235" y="114"/>
                  </a:moveTo>
                  <a:cubicBezTo>
                    <a:pt x="237" y="114"/>
                    <a:pt x="238" y="114"/>
                    <a:pt x="240" y="114"/>
                  </a:cubicBezTo>
                  <a:cubicBezTo>
                    <a:pt x="281" y="110"/>
                    <a:pt x="292" y="91"/>
                    <a:pt x="296" y="68"/>
                  </a:cubicBezTo>
                  <a:cubicBezTo>
                    <a:pt x="301" y="42"/>
                    <a:pt x="302" y="33"/>
                    <a:pt x="308" y="30"/>
                  </a:cubicBezTo>
                  <a:cubicBezTo>
                    <a:pt x="313" y="28"/>
                    <a:pt x="315" y="23"/>
                    <a:pt x="314" y="16"/>
                  </a:cubicBezTo>
                  <a:cubicBezTo>
                    <a:pt x="314" y="9"/>
                    <a:pt x="314" y="8"/>
                    <a:pt x="306" y="6"/>
                  </a:cubicBezTo>
                  <a:cubicBezTo>
                    <a:pt x="299" y="3"/>
                    <a:pt x="264" y="0"/>
                    <a:pt x="237" y="2"/>
                  </a:cubicBezTo>
                  <a:cubicBezTo>
                    <a:pt x="237" y="9"/>
                    <a:pt x="237" y="9"/>
                    <a:pt x="237" y="9"/>
                  </a:cubicBezTo>
                  <a:cubicBezTo>
                    <a:pt x="258" y="8"/>
                    <a:pt x="278" y="10"/>
                    <a:pt x="284" y="14"/>
                  </a:cubicBezTo>
                  <a:cubicBezTo>
                    <a:pt x="298" y="23"/>
                    <a:pt x="294" y="64"/>
                    <a:pt x="282" y="85"/>
                  </a:cubicBezTo>
                  <a:cubicBezTo>
                    <a:pt x="275" y="100"/>
                    <a:pt x="254" y="107"/>
                    <a:pt x="235" y="107"/>
                  </a:cubicBezTo>
                  <a:lnTo>
                    <a:pt x="235" y="114"/>
                  </a:lnTo>
                  <a:close/>
                  <a:moveTo>
                    <a:pt x="157" y="15"/>
                  </a:moveTo>
                  <a:cubicBezTo>
                    <a:pt x="148" y="16"/>
                    <a:pt x="110" y="5"/>
                    <a:pt x="83" y="2"/>
                  </a:cubicBezTo>
                  <a:cubicBezTo>
                    <a:pt x="82" y="2"/>
                    <a:pt x="80" y="2"/>
                    <a:pt x="78" y="2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99" y="10"/>
                    <a:pt x="122" y="15"/>
                    <a:pt x="129" y="27"/>
                  </a:cubicBezTo>
                  <a:cubicBezTo>
                    <a:pt x="142" y="46"/>
                    <a:pt x="119" y="92"/>
                    <a:pt x="99" y="103"/>
                  </a:cubicBezTo>
                  <a:cubicBezTo>
                    <a:pt x="93" y="106"/>
                    <a:pt x="84" y="108"/>
                    <a:pt x="76" y="108"/>
                  </a:cubicBezTo>
                  <a:cubicBezTo>
                    <a:pt x="75" y="114"/>
                    <a:pt x="75" y="114"/>
                    <a:pt x="75" y="114"/>
                  </a:cubicBezTo>
                  <a:cubicBezTo>
                    <a:pt x="112" y="114"/>
                    <a:pt x="125" y="88"/>
                    <a:pt x="129" y="80"/>
                  </a:cubicBezTo>
                  <a:cubicBezTo>
                    <a:pt x="138" y="63"/>
                    <a:pt x="136" y="41"/>
                    <a:pt x="157" y="41"/>
                  </a:cubicBezTo>
                  <a:cubicBezTo>
                    <a:pt x="177" y="41"/>
                    <a:pt x="175" y="63"/>
                    <a:pt x="182" y="79"/>
                  </a:cubicBezTo>
                  <a:cubicBezTo>
                    <a:pt x="186" y="88"/>
                    <a:pt x="198" y="115"/>
                    <a:pt x="235" y="114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26" y="107"/>
                    <a:pt x="217" y="106"/>
                    <a:pt x="211" y="102"/>
                  </a:cubicBezTo>
                  <a:cubicBezTo>
                    <a:pt x="191" y="92"/>
                    <a:pt x="171" y="46"/>
                    <a:pt x="185" y="26"/>
                  </a:cubicBezTo>
                  <a:cubicBezTo>
                    <a:pt x="193" y="15"/>
                    <a:pt x="215" y="10"/>
                    <a:pt x="237" y="9"/>
                  </a:cubicBezTo>
                  <a:cubicBezTo>
                    <a:pt x="237" y="2"/>
                    <a:pt x="237" y="2"/>
                    <a:pt x="237" y="2"/>
                  </a:cubicBezTo>
                  <a:cubicBezTo>
                    <a:pt x="235" y="2"/>
                    <a:pt x="234" y="2"/>
                    <a:pt x="232" y="2"/>
                  </a:cubicBezTo>
                  <a:cubicBezTo>
                    <a:pt x="208" y="4"/>
                    <a:pt x="179" y="15"/>
                    <a:pt x="157" y="15"/>
                  </a:cubicBezTo>
                  <a:close/>
                  <a:moveTo>
                    <a:pt x="78" y="2"/>
                  </a:moveTo>
                  <a:cubicBezTo>
                    <a:pt x="51" y="1"/>
                    <a:pt x="16" y="4"/>
                    <a:pt x="10" y="6"/>
                  </a:cubicBezTo>
                  <a:cubicBezTo>
                    <a:pt x="1" y="9"/>
                    <a:pt x="1" y="10"/>
                    <a:pt x="0" y="17"/>
                  </a:cubicBezTo>
                  <a:cubicBezTo>
                    <a:pt x="0" y="23"/>
                    <a:pt x="1" y="29"/>
                    <a:pt x="5" y="31"/>
                  </a:cubicBezTo>
                  <a:cubicBezTo>
                    <a:pt x="12" y="33"/>
                    <a:pt x="12" y="42"/>
                    <a:pt x="15" y="68"/>
                  </a:cubicBezTo>
                  <a:cubicBezTo>
                    <a:pt x="19" y="92"/>
                    <a:pt x="28" y="111"/>
                    <a:pt x="69" y="114"/>
                  </a:cubicBezTo>
                  <a:cubicBezTo>
                    <a:pt x="71" y="114"/>
                    <a:pt x="73" y="114"/>
                    <a:pt x="75" y="114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57" y="108"/>
                    <a:pt x="35" y="101"/>
                    <a:pt x="28" y="86"/>
                  </a:cubicBezTo>
                  <a:cubicBezTo>
                    <a:pt x="18" y="65"/>
                    <a:pt x="17" y="23"/>
                    <a:pt x="31" y="14"/>
                  </a:cubicBezTo>
                  <a:cubicBezTo>
                    <a:pt x="37" y="11"/>
                    <a:pt x="57" y="8"/>
                    <a:pt x="77" y="9"/>
                  </a:cubicBezTo>
                  <a:lnTo>
                    <a:pt x="78" y="2"/>
                  </a:lnTo>
                  <a:close/>
                </a:path>
              </a:pathLst>
            </a:custGeom>
            <a:solidFill>
              <a:srgbClr val="26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96"/>
            <p:cNvSpPr>
              <a:spLocks/>
            </p:cNvSpPr>
            <p:nvPr/>
          </p:nvSpPr>
          <p:spPr bwMode="auto">
            <a:xfrm>
              <a:off x="2670970" y="2516189"/>
              <a:ext cx="690563" cy="960438"/>
            </a:xfrm>
            <a:custGeom>
              <a:avLst/>
              <a:gdLst>
                <a:gd name="T0" fmla="*/ 155 w 430"/>
                <a:gd name="T1" fmla="*/ 55 h 598"/>
                <a:gd name="T2" fmla="*/ 348 w 430"/>
                <a:gd name="T3" fmla="*/ 103 h 598"/>
                <a:gd name="T4" fmla="*/ 402 w 430"/>
                <a:gd name="T5" fmla="*/ 279 h 598"/>
                <a:gd name="T6" fmla="*/ 205 w 430"/>
                <a:gd name="T7" fmla="*/ 597 h 598"/>
                <a:gd name="T8" fmla="*/ 33 w 430"/>
                <a:gd name="T9" fmla="*/ 272 h 598"/>
                <a:gd name="T10" fmla="*/ 155 w 430"/>
                <a:gd name="T11" fmla="*/ 55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0" h="598">
                  <a:moveTo>
                    <a:pt x="155" y="55"/>
                  </a:moveTo>
                  <a:cubicBezTo>
                    <a:pt x="171" y="26"/>
                    <a:pt x="297" y="0"/>
                    <a:pt x="348" y="103"/>
                  </a:cubicBezTo>
                  <a:cubicBezTo>
                    <a:pt x="400" y="207"/>
                    <a:pt x="374" y="243"/>
                    <a:pt x="402" y="279"/>
                  </a:cubicBezTo>
                  <a:cubicBezTo>
                    <a:pt x="430" y="316"/>
                    <a:pt x="364" y="598"/>
                    <a:pt x="205" y="597"/>
                  </a:cubicBezTo>
                  <a:cubicBezTo>
                    <a:pt x="36" y="596"/>
                    <a:pt x="0" y="326"/>
                    <a:pt x="33" y="272"/>
                  </a:cubicBezTo>
                  <a:cubicBezTo>
                    <a:pt x="67" y="217"/>
                    <a:pt x="37" y="55"/>
                    <a:pt x="155" y="55"/>
                  </a:cubicBezTo>
                </a:path>
              </a:pathLst>
            </a:custGeom>
            <a:solidFill>
              <a:srgbClr val="BF9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97"/>
            <p:cNvSpPr>
              <a:spLocks/>
            </p:cNvSpPr>
            <p:nvPr/>
          </p:nvSpPr>
          <p:spPr bwMode="auto">
            <a:xfrm>
              <a:off x="2415382" y="3375027"/>
              <a:ext cx="1184275" cy="442913"/>
            </a:xfrm>
            <a:custGeom>
              <a:avLst/>
              <a:gdLst>
                <a:gd name="T0" fmla="*/ 438 w 737"/>
                <a:gd name="T1" fmla="*/ 0 h 276"/>
                <a:gd name="T2" fmla="*/ 295 w 737"/>
                <a:gd name="T3" fmla="*/ 7 h 276"/>
                <a:gd name="T4" fmla="*/ 79 w 737"/>
                <a:gd name="T5" fmla="*/ 99 h 276"/>
                <a:gd name="T6" fmla="*/ 0 w 737"/>
                <a:gd name="T7" fmla="*/ 276 h 276"/>
                <a:gd name="T8" fmla="*/ 737 w 737"/>
                <a:gd name="T9" fmla="*/ 276 h 276"/>
                <a:gd name="T10" fmla="*/ 658 w 737"/>
                <a:gd name="T11" fmla="*/ 99 h 276"/>
                <a:gd name="T12" fmla="*/ 438 w 737"/>
                <a:gd name="T1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7" h="276">
                  <a:moveTo>
                    <a:pt x="438" y="0"/>
                  </a:moveTo>
                  <a:cubicBezTo>
                    <a:pt x="437" y="3"/>
                    <a:pt x="296" y="5"/>
                    <a:pt x="295" y="7"/>
                  </a:cubicBezTo>
                  <a:cubicBezTo>
                    <a:pt x="250" y="70"/>
                    <a:pt x="155" y="82"/>
                    <a:pt x="79" y="99"/>
                  </a:cubicBezTo>
                  <a:cubicBezTo>
                    <a:pt x="3" y="116"/>
                    <a:pt x="0" y="212"/>
                    <a:pt x="0" y="276"/>
                  </a:cubicBezTo>
                  <a:cubicBezTo>
                    <a:pt x="737" y="276"/>
                    <a:pt x="737" y="276"/>
                    <a:pt x="737" y="276"/>
                  </a:cubicBezTo>
                  <a:cubicBezTo>
                    <a:pt x="737" y="212"/>
                    <a:pt x="736" y="116"/>
                    <a:pt x="658" y="99"/>
                  </a:cubicBezTo>
                  <a:cubicBezTo>
                    <a:pt x="581" y="81"/>
                    <a:pt x="480" y="66"/>
                    <a:pt x="438" y="0"/>
                  </a:cubicBezTo>
                  <a:close/>
                </a:path>
              </a:pathLst>
            </a:custGeom>
            <a:solidFill>
              <a:srgbClr val="74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98"/>
            <p:cNvSpPr>
              <a:spLocks/>
            </p:cNvSpPr>
            <p:nvPr/>
          </p:nvSpPr>
          <p:spPr bwMode="auto">
            <a:xfrm>
              <a:off x="2888457" y="3375027"/>
              <a:ext cx="238125" cy="442913"/>
            </a:xfrm>
            <a:custGeom>
              <a:avLst/>
              <a:gdLst>
                <a:gd name="T0" fmla="*/ 149 w 149"/>
                <a:gd name="T1" fmla="*/ 7 h 276"/>
                <a:gd name="T2" fmla="*/ 149 w 149"/>
                <a:gd name="T3" fmla="*/ 41 h 276"/>
                <a:gd name="T4" fmla="*/ 113 w 149"/>
                <a:gd name="T5" fmla="*/ 276 h 276"/>
                <a:gd name="T6" fmla="*/ 36 w 149"/>
                <a:gd name="T7" fmla="*/ 276 h 276"/>
                <a:gd name="T8" fmla="*/ 0 w 149"/>
                <a:gd name="T9" fmla="*/ 44 h 276"/>
                <a:gd name="T10" fmla="*/ 0 w 149"/>
                <a:gd name="T11" fmla="*/ 7 h 276"/>
                <a:gd name="T12" fmla="*/ 1 w 149"/>
                <a:gd name="T13" fmla="*/ 7 h 276"/>
                <a:gd name="T14" fmla="*/ 144 w 149"/>
                <a:gd name="T15" fmla="*/ 0 h 276"/>
                <a:gd name="T16" fmla="*/ 149 w 149"/>
                <a:gd name="T17" fmla="*/ 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276">
                  <a:moveTo>
                    <a:pt x="149" y="7"/>
                  </a:moveTo>
                  <a:cubicBezTo>
                    <a:pt x="149" y="41"/>
                    <a:pt x="149" y="41"/>
                    <a:pt x="149" y="41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36" y="276"/>
                    <a:pt x="36" y="276"/>
                    <a:pt x="36" y="27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5"/>
                    <a:pt x="143" y="3"/>
                    <a:pt x="144" y="0"/>
                  </a:cubicBezTo>
                  <a:cubicBezTo>
                    <a:pt x="146" y="2"/>
                    <a:pt x="147" y="4"/>
                    <a:pt x="149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9"/>
            <p:cNvSpPr>
              <a:spLocks/>
            </p:cNvSpPr>
            <p:nvPr/>
          </p:nvSpPr>
          <p:spPr bwMode="auto">
            <a:xfrm>
              <a:off x="2890045" y="2976564"/>
              <a:ext cx="234950" cy="571500"/>
            </a:xfrm>
            <a:custGeom>
              <a:avLst/>
              <a:gdLst>
                <a:gd name="T0" fmla="*/ 0 w 147"/>
                <a:gd name="T1" fmla="*/ 98 h 356"/>
                <a:gd name="T2" fmla="*/ 0 w 147"/>
                <a:gd name="T3" fmla="*/ 219 h 356"/>
                <a:gd name="T4" fmla="*/ 0 w 147"/>
                <a:gd name="T5" fmla="*/ 278 h 356"/>
                <a:gd name="T6" fmla="*/ 147 w 147"/>
                <a:gd name="T7" fmla="*/ 278 h 356"/>
                <a:gd name="T8" fmla="*/ 147 w 147"/>
                <a:gd name="T9" fmla="*/ 219 h 356"/>
                <a:gd name="T10" fmla="*/ 147 w 147"/>
                <a:gd name="T11" fmla="*/ 98 h 356"/>
                <a:gd name="T12" fmla="*/ 0 w 147"/>
                <a:gd name="T13" fmla="*/ 9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56">
                  <a:moveTo>
                    <a:pt x="0" y="98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37" y="354"/>
                    <a:pt x="103" y="356"/>
                    <a:pt x="147" y="278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0"/>
                    <a:pt x="0" y="0"/>
                    <a:pt x="0" y="98"/>
                  </a:cubicBezTo>
                </a:path>
              </a:pathLst>
            </a:custGeom>
            <a:solidFill>
              <a:srgbClr val="F6DB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186172" y="2302670"/>
              <a:ext cx="468254" cy="828676"/>
              <a:chOff x="2548790" y="2218532"/>
              <a:chExt cx="468254" cy="828676"/>
            </a:xfrm>
          </p:grpSpPr>
          <p:grpSp>
            <p:nvGrpSpPr>
              <p:cNvPr id="182" name="Group 181"/>
              <p:cNvGrpSpPr/>
              <p:nvPr/>
            </p:nvGrpSpPr>
            <p:grpSpPr>
              <a:xfrm>
                <a:off x="2663031" y="2218532"/>
                <a:ext cx="354013" cy="827088"/>
                <a:chOff x="2291616" y="2152651"/>
                <a:chExt cx="354013" cy="827088"/>
              </a:xfrm>
            </p:grpSpPr>
            <p:sp>
              <p:nvSpPr>
                <p:cNvPr id="184" name="Freeform 73"/>
                <p:cNvSpPr>
                  <a:spLocks/>
                </p:cNvSpPr>
                <p:nvPr/>
              </p:nvSpPr>
              <p:spPr bwMode="auto">
                <a:xfrm>
                  <a:off x="2291616" y="2544763"/>
                  <a:ext cx="354013" cy="434975"/>
                </a:xfrm>
                <a:custGeom>
                  <a:avLst/>
                  <a:gdLst>
                    <a:gd name="T0" fmla="*/ 116 w 220"/>
                    <a:gd name="T1" fmla="*/ 0 h 271"/>
                    <a:gd name="T2" fmla="*/ 0 w 220"/>
                    <a:gd name="T3" fmla="*/ 35 h 271"/>
                    <a:gd name="T4" fmla="*/ 44 w 220"/>
                    <a:gd name="T5" fmla="*/ 271 h 271"/>
                    <a:gd name="T6" fmla="*/ 202 w 220"/>
                    <a:gd name="T7" fmla="*/ 271 h 271"/>
                    <a:gd name="T8" fmla="*/ 220 w 220"/>
                    <a:gd name="T9" fmla="*/ 36 h 271"/>
                    <a:gd name="T10" fmla="*/ 116 w 220"/>
                    <a:gd name="T11" fmla="*/ 0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0" h="271">
                      <a:moveTo>
                        <a:pt x="116" y="0"/>
                      </a:moveTo>
                      <a:cubicBezTo>
                        <a:pt x="116" y="0"/>
                        <a:pt x="0" y="28"/>
                        <a:pt x="0" y="35"/>
                      </a:cubicBezTo>
                      <a:cubicBezTo>
                        <a:pt x="0" y="42"/>
                        <a:pt x="44" y="271"/>
                        <a:pt x="44" y="271"/>
                      </a:cubicBezTo>
                      <a:cubicBezTo>
                        <a:pt x="202" y="271"/>
                        <a:pt x="202" y="271"/>
                        <a:pt x="202" y="271"/>
                      </a:cubicBezTo>
                      <a:cubicBezTo>
                        <a:pt x="220" y="36"/>
                        <a:pt x="220" y="36"/>
                        <a:pt x="220" y="36"/>
                      </a:cubicBezTo>
                      <a:cubicBezTo>
                        <a:pt x="116" y="0"/>
                        <a:pt x="116" y="0"/>
                        <a:pt x="116" y="0"/>
                      </a:cubicBezTo>
                    </a:path>
                  </a:pathLst>
                </a:custGeom>
                <a:solidFill>
                  <a:srgbClr val="34343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76"/>
                <p:cNvSpPr>
                  <a:spLocks/>
                </p:cNvSpPr>
                <p:nvPr/>
              </p:nvSpPr>
              <p:spPr bwMode="auto">
                <a:xfrm>
                  <a:off x="2420204" y="2544763"/>
                  <a:ext cx="114300" cy="112713"/>
                </a:xfrm>
                <a:custGeom>
                  <a:avLst/>
                  <a:gdLst>
                    <a:gd name="T0" fmla="*/ 0 w 71"/>
                    <a:gd name="T1" fmla="*/ 39 h 70"/>
                    <a:gd name="T2" fmla="*/ 20 w 71"/>
                    <a:gd name="T3" fmla="*/ 70 h 70"/>
                    <a:gd name="T4" fmla="*/ 51 w 71"/>
                    <a:gd name="T5" fmla="*/ 70 h 70"/>
                    <a:gd name="T6" fmla="*/ 71 w 71"/>
                    <a:gd name="T7" fmla="*/ 39 h 70"/>
                    <a:gd name="T8" fmla="*/ 36 w 71"/>
                    <a:gd name="T9" fmla="*/ 0 h 70"/>
                    <a:gd name="T10" fmla="*/ 0 w 71"/>
                    <a:gd name="T11" fmla="*/ 3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1" h="70">
                      <a:moveTo>
                        <a:pt x="0" y="39"/>
                      </a:moveTo>
                      <a:cubicBezTo>
                        <a:pt x="20" y="70"/>
                        <a:pt x="20" y="70"/>
                        <a:pt x="20" y="70"/>
                      </a:cubicBezTo>
                      <a:cubicBezTo>
                        <a:pt x="30" y="70"/>
                        <a:pt x="41" y="70"/>
                        <a:pt x="51" y="70"/>
                      </a:cubicBezTo>
                      <a:cubicBezTo>
                        <a:pt x="71" y="39"/>
                        <a:pt x="71" y="39"/>
                        <a:pt x="71" y="39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0" y="39"/>
                        <a:pt x="0" y="39"/>
                        <a:pt x="0" y="39"/>
                      </a:cubicBezTo>
                    </a:path>
                  </a:pathLst>
                </a:custGeom>
                <a:solidFill>
                  <a:srgbClr val="2680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77"/>
                <p:cNvSpPr>
                  <a:spLocks/>
                </p:cNvSpPr>
                <p:nvPr/>
              </p:nvSpPr>
              <p:spPr bwMode="auto">
                <a:xfrm>
                  <a:off x="2405916" y="2657476"/>
                  <a:ext cx="142875" cy="322263"/>
                </a:xfrm>
                <a:custGeom>
                  <a:avLst/>
                  <a:gdLst>
                    <a:gd name="T0" fmla="*/ 29 w 90"/>
                    <a:gd name="T1" fmla="*/ 0 h 203"/>
                    <a:gd name="T2" fmla="*/ 0 w 90"/>
                    <a:gd name="T3" fmla="*/ 203 h 203"/>
                    <a:gd name="T4" fmla="*/ 90 w 90"/>
                    <a:gd name="T5" fmla="*/ 203 h 203"/>
                    <a:gd name="T6" fmla="*/ 61 w 90"/>
                    <a:gd name="T7" fmla="*/ 0 h 203"/>
                    <a:gd name="T8" fmla="*/ 29 w 90"/>
                    <a:gd name="T9" fmla="*/ 0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203">
                      <a:moveTo>
                        <a:pt x="29" y="0"/>
                      </a:moveTo>
                      <a:lnTo>
                        <a:pt x="0" y="203"/>
                      </a:lnTo>
                      <a:lnTo>
                        <a:pt x="90" y="203"/>
                      </a:lnTo>
                      <a:lnTo>
                        <a:pt x="61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2680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78"/>
                <p:cNvSpPr>
                  <a:spLocks/>
                </p:cNvSpPr>
                <p:nvPr/>
              </p:nvSpPr>
              <p:spPr bwMode="auto">
                <a:xfrm>
                  <a:off x="2405916" y="2657476"/>
                  <a:ext cx="142875" cy="322263"/>
                </a:xfrm>
                <a:custGeom>
                  <a:avLst/>
                  <a:gdLst>
                    <a:gd name="T0" fmla="*/ 29 w 90"/>
                    <a:gd name="T1" fmla="*/ 0 h 203"/>
                    <a:gd name="T2" fmla="*/ 0 w 90"/>
                    <a:gd name="T3" fmla="*/ 203 h 203"/>
                    <a:gd name="T4" fmla="*/ 90 w 90"/>
                    <a:gd name="T5" fmla="*/ 203 h 203"/>
                    <a:gd name="T6" fmla="*/ 61 w 90"/>
                    <a:gd name="T7" fmla="*/ 0 h 203"/>
                    <a:gd name="T8" fmla="*/ 29 w 90"/>
                    <a:gd name="T9" fmla="*/ 0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203">
                      <a:moveTo>
                        <a:pt x="29" y="0"/>
                      </a:moveTo>
                      <a:lnTo>
                        <a:pt x="0" y="203"/>
                      </a:lnTo>
                      <a:lnTo>
                        <a:pt x="90" y="203"/>
                      </a:lnTo>
                      <a:lnTo>
                        <a:pt x="61" y="0"/>
                      </a:lnTo>
                      <a:lnTo>
                        <a:pt x="2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79"/>
                <p:cNvSpPr>
                  <a:spLocks/>
                </p:cNvSpPr>
                <p:nvPr/>
              </p:nvSpPr>
              <p:spPr bwMode="auto">
                <a:xfrm>
                  <a:off x="2331304" y="2378076"/>
                  <a:ext cx="146050" cy="282575"/>
                </a:xfrm>
                <a:custGeom>
                  <a:avLst/>
                  <a:gdLst>
                    <a:gd name="T0" fmla="*/ 8 w 92"/>
                    <a:gd name="T1" fmla="*/ 0 h 178"/>
                    <a:gd name="T2" fmla="*/ 0 w 92"/>
                    <a:gd name="T3" fmla="*/ 28 h 178"/>
                    <a:gd name="T4" fmla="*/ 21 w 92"/>
                    <a:gd name="T5" fmla="*/ 178 h 178"/>
                    <a:gd name="T6" fmla="*/ 92 w 92"/>
                    <a:gd name="T7" fmla="*/ 105 h 178"/>
                    <a:gd name="T8" fmla="*/ 8 w 92"/>
                    <a:gd name="T9" fmla="*/ 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178">
                      <a:moveTo>
                        <a:pt x="8" y="0"/>
                      </a:moveTo>
                      <a:lnTo>
                        <a:pt x="0" y="28"/>
                      </a:lnTo>
                      <a:lnTo>
                        <a:pt x="21" y="178"/>
                      </a:lnTo>
                      <a:lnTo>
                        <a:pt x="92" y="105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4343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80"/>
                <p:cNvSpPr>
                  <a:spLocks/>
                </p:cNvSpPr>
                <p:nvPr/>
              </p:nvSpPr>
              <p:spPr bwMode="auto">
                <a:xfrm>
                  <a:off x="2331304" y="2378076"/>
                  <a:ext cx="146050" cy="282575"/>
                </a:xfrm>
                <a:custGeom>
                  <a:avLst/>
                  <a:gdLst>
                    <a:gd name="T0" fmla="*/ 8 w 92"/>
                    <a:gd name="T1" fmla="*/ 0 h 178"/>
                    <a:gd name="T2" fmla="*/ 0 w 92"/>
                    <a:gd name="T3" fmla="*/ 28 h 178"/>
                    <a:gd name="T4" fmla="*/ 21 w 92"/>
                    <a:gd name="T5" fmla="*/ 178 h 178"/>
                    <a:gd name="T6" fmla="*/ 92 w 92"/>
                    <a:gd name="T7" fmla="*/ 105 h 178"/>
                    <a:gd name="T8" fmla="*/ 8 w 92"/>
                    <a:gd name="T9" fmla="*/ 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178">
                      <a:moveTo>
                        <a:pt x="8" y="0"/>
                      </a:moveTo>
                      <a:lnTo>
                        <a:pt x="0" y="28"/>
                      </a:lnTo>
                      <a:lnTo>
                        <a:pt x="21" y="178"/>
                      </a:lnTo>
                      <a:lnTo>
                        <a:pt x="92" y="105"/>
                      </a:lnTo>
                      <a:lnTo>
                        <a:pt x="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81"/>
                <p:cNvSpPr>
                  <a:spLocks/>
                </p:cNvSpPr>
                <p:nvPr/>
              </p:nvSpPr>
              <p:spPr bwMode="auto">
                <a:xfrm>
                  <a:off x="2344004" y="2322513"/>
                  <a:ext cx="266700" cy="92075"/>
                </a:xfrm>
                <a:custGeom>
                  <a:avLst/>
                  <a:gdLst>
                    <a:gd name="T0" fmla="*/ 0 w 167"/>
                    <a:gd name="T1" fmla="*/ 0 h 58"/>
                    <a:gd name="T2" fmla="*/ 0 w 167"/>
                    <a:gd name="T3" fmla="*/ 6 h 58"/>
                    <a:gd name="T4" fmla="*/ 83 w 167"/>
                    <a:gd name="T5" fmla="*/ 58 h 58"/>
                    <a:gd name="T6" fmla="*/ 85 w 167"/>
                    <a:gd name="T7" fmla="*/ 58 h 58"/>
                    <a:gd name="T8" fmla="*/ 167 w 167"/>
                    <a:gd name="T9" fmla="*/ 9 h 58"/>
                    <a:gd name="T10" fmla="*/ 167 w 167"/>
                    <a:gd name="T11" fmla="*/ 0 h 58"/>
                    <a:gd name="T12" fmla="*/ 0 w 167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7" h="58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6"/>
                        <a:pt x="43" y="56"/>
                        <a:pt x="83" y="58"/>
                      </a:cubicBezTo>
                      <a:cubicBezTo>
                        <a:pt x="84" y="58"/>
                        <a:pt x="85" y="58"/>
                        <a:pt x="85" y="58"/>
                      </a:cubicBezTo>
                      <a:cubicBezTo>
                        <a:pt x="125" y="58"/>
                        <a:pt x="167" y="9"/>
                        <a:pt x="167" y="9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5A0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83"/>
                <p:cNvSpPr>
                  <a:spLocks/>
                </p:cNvSpPr>
                <p:nvPr/>
              </p:nvSpPr>
              <p:spPr bwMode="auto">
                <a:xfrm>
                  <a:off x="2477354" y="2378076"/>
                  <a:ext cx="142875" cy="284163"/>
                </a:xfrm>
                <a:custGeom>
                  <a:avLst/>
                  <a:gdLst>
                    <a:gd name="T0" fmla="*/ 84 w 90"/>
                    <a:gd name="T1" fmla="*/ 0 h 179"/>
                    <a:gd name="T2" fmla="*/ 90 w 90"/>
                    <a:gd name="T3" fmla="*/ 28 h 179"/>
                    <a:gd name="T4" fmla="*/ 70 w 90"/>
                    <a:gd name="T5" fmla="*/ 179 h 179"/>
                    <a:gd name="T6" fmla="*/ 0 w 90"/>
                    <a:gd name="T7" fmla="*/ 105 h 179"/>
                    <a:gd name="T8" fmla="*/ 84 w 90"/>
                    <a:gd name="T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179">
                      <a:moveTo>
                        <a:pt x="84" y="0"/>
                      </a:moveTo>
                      <a:lnTo>
                        <a:pt x="90" y="28"/>
                      </a:lnTo>
                      <a:lnTo>
                        <a:pt x="70" y="179"/>
                      </a:lnTo>
                      <a:lnTo>
                        <a:pt x="0" y="105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34343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84"/>
                <p:cNvSpPr>
                  <a:spLocks/>
                </p:cNvSpPr>
                <p:nvPr/>
              </p:nvSpPr>
              <p:spPr bwMode="auto">
                <a:xfrm>
                  <a:off x="2477354" y="2378076"/>
                  <a:ext cx="142875" cy="284163"/>
                </a:xfrm>
                <a:custGeom>
                  <a:avLst/>
                  <a:gdLst>
                    <a:gd name="T0" fmla="*/ 84 w 90"/>
                    <a:gd name="T1" fmla="*/ 0 h 179"/>
                    <a:gd name="T2" fmla="*/ 90 w 90"/>
                    <a:gd name="T3" fmla="*/ 28 h 179"/>
                    <a:gd name="T4" fmla="*/ 70 w 90"/>
                    <a:gd name="T5" fmla="*/ 179 h 179"/>
                    <a:gd name="T6" fmla="*/ 0 w 90"/>
                    <a:gd name="T7" fmla="*/ 105 h 179"/>
                    <a:gd name="T8" fmla="*/ 84 w 90"/>
                    <a:gd name="T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179">
                      <a:moveTo>
                        <a:pt x="84" y="0"/>
                      </a:moveTo>
                      <a:lnTo>
                        <a:pt x="90" y="28"/>
                      </a:lnTo>
                      <a:lnTo>
                        <a:pt x="70" y="179"/>
                      </a:lnTo>
                      <a:lnTo>
                        <a:pt x="0" y="105"/>
                      </a:lnTo>
                      <a:lnTo>
                        <a:pt x="8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85"/>
                <p:cNvSpPr>
                  <a:spLocks/>
                </p:cNvSpPr>
                <p:nvPr/>
              </p:nvSpPr>
              <p:spPr bwMode="auto">
                <a:xfrm>
                  <a:off x="2477354" y="254476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1E1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86"/>
                <p:cNvSpPr>
                  <a:spLocks/>
                </p:cNvSpPr>
                <p:nvPr/>
              </p:nvSpPr>
              <p:spPr bwMode="auto">
                <a:xfrm>
                  <a:off x="2477354" y="254476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87"/>
                <p:cNvSpPr>
                  <a:spLocks/>
                </p:cNvSpPr>
                <p:nvPr/>
              </p:nvSpPr>
              <p:spPr bwMode="auto">
                <a:xfrm>
                  <a:off x="2344004" y="2373313"/>
                  <a:ext cx="266700" cy="171450"/>
                </a:xfrm>
                <a:custGeom>
                  <a:avLst/>
                  <a:gdLst>
                    <a:gd name="T0" fmla="*/ 168 w 168"/>
                    <a:gd name="T1" fmla="*/ 0 h 108"/>
                    <a:gd name="T2" fmla="*/ 84 w 168"/>
                    <a:gd name="T3" fmla="*/ 105 h 108"/>
                    <a:gd name="T4" fmla="*/ 0 w 168"/>
                    <a:gd name="T5" fmla="*/ 0 h 108"/>
                    <a:gd name="T6" fmla="*/ 0 w 168"/>
                    <a:gd name="T7" fmla="*/ 3 h 108"/>
                    <a:gd name="T8" fmla="*/ 84 w 168"/>
                    <a:gd name="T9" fmla="*/ 108 h 108"/>
                    <a:gd name="T10" fmla="*/ 84 w 168"/>
                    <a:gd name="T11" fmla="*/ 108 h 108"/>
                    <a:gd name="T12" fmla="*/ 168 w 168"/>
                    <a:gd name="T13" fmla="*/ 3 h 108"/>
                    <a:gd name="T14" fmla="*/ 168 w 168"/>
                    <a:gd name="T15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8" h="108">
                      <a:moveTo>
                        <a:pt x="168" y="0"/>
                      </a:moveTo>
                      <a:lnTo>
                        <a:pt x="84" y="105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84" y="108"/>
                      </a:lnTo>
                      <a:lnTo>
                        <a:pt x="84" y="108"/>
                      </a:lnTo>
                      <a:lnTo>
                        <a:pt x="168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E9BEA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88"/>
                <p:cNvSpPr>
                  <a:spLocks/>
                </p:cNvSpPr>
                <p:nvPr/>
              </p:nvSpPr>
              <p:spPr bwMode="auto">
                <a:xfrm>
                  <a:off x="2344004" y="2373313"/>
                  <a:ext cx="266700" cy="171450"/>
                </a:xfrm>
                <a:custGeom>
                  <a:avLst/>
                  <a:gdLst>
                    <a:gd name="T0" fmla="*/ 168 w 168"/>
                    <a:gd name="T1" fmla="*/ 0 h 108"/>
                    <a:gd name="T2" fmla="*/ 84 w 168"/>
                    <a:gd name="T3" fmla="*/ 105 h 108"/>
                    <a:gd name="T4" fmla="*/ 0 w 168"/>
                    <a:gd name="T5" fmla="*/ 0 h 108"/>
                    <a:gd name="T6" fmla="*/ 0 w 168"/>
                    <a:gd name="T7" fmla="*/ 3 h 108"/>
                    <a:gd name="T8" fmla="*/ 84 w 168"/>
                    <a:gd name="T9" fmla="*/ 108 h 108"/>
                    <a:gd name="T10" fmla="*/ 84 w 168"/>
                    <a:gd name="T11" fmla="*/ 108 h 108"/>
                    <a:gd name="T12" fmla="*/ 168 w 168"/>
                    <a:gd name="T13" fmla="*/ 3 h 108"/>
                    <a:gd name="T14" fmla="*/ 168 w 168"/>
                    <a:gd name="T15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8" h="108">
                      <a:moveTo>
                        <a:pt x="168" y="0"/>
                      </a:moveTo>
                      <a:lnTo>
                        <a:pt x="84" y="105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84" y="108"/>
                      </a:lnTo>
                      <a:lnTo>
                        <a:pt x="84" y="108"/>
                      </a:lnTo>
                      <a:lnTo>
                        <a:pt x="168" y="3"/>
                      </a:lnTo>
                      <a:lnTo>
                        <a:pt x="16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89"/>
                <p:cNvSpPr>
                  <a:spLocks noEditPoint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custGeom>
                  <a:avLst/>
                  <a:gdLst>
                    <a:gd name="T0" fmla="*/ 0 w 32"/>
                    <a:gd name="T1" fmla="*/ 0 h 1"/>
                    <a:gd name="T2" fmla="*/ 0 w 32"/>
                    <a:gd name="T3" fmla="*/ 1 h 1"/>
                    <a:gd name="T4" fmla="*/ 0 w 32"/>
                    <a:gd name="T5" fmla="*/ 1 h 1"/>
                    <a:gd name="T6" fmla="*/ 0 w 32"/>
                    <a:gd name="T7" fmla="*/ 0 h 1"/>
                    <a:gd name="T8" fmla="*/ 32 w 32"/>
                    <a:gd name="T9" fmla="*/ 0 h 1"/>
                    <a:gd name="T10" fmla="*/ 32 w 32"/>
                    <a:gd name="T11" fmla="*/ 0 h 1"/>
                    <a:gd name="T12" fmla="*/ 32 w 32"/>
                    <a:gd name="T13" fmla="*/ 1 h 1"/>
                    <a:gd name="T14" fmla="*/ 32 w 32"/>
                    <a:gd name="T15" fmla="*/ 1 h 1"/>
                    <a:gd name="T16" fmla="*/ 32 w 3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  <a:moveTo>
                        <a:pt x="32" y="0"/>
                      </a:moveTo>
                      <a:lnTo>
                        <a:pt x="32" y="0"/>
                      </a:lnTo>
                      <a:lnTo>
                        <a:pt x="32" y="1"/>
                      </a:lnTo>
                      <a:lnTo>
                        <a:pt x="32" y="1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2F2F2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90"/>
                <p:cNvSpPr>
                  <a:spLocks noEditPoint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custGeom>
                  <a:avLst/>
                  <a:gdLst>
                    <a:gd name="T0" fmla="*/ 0 w 32"/>
                    <a:gd name="T1" fmla="*/ 0 h 1"/>
                    <a:gd name="T2" fmla="*/ 0 w 32"/>
                    <a:gd name="T3" fmla="*/ 1 h 1"/>
                    <a:gd name="T4" fmla="*/ 0 w 32"/>
                    <a:gd name="T5" fmla="*/ 1 h 1"/>
                    <a:gd name="T6" fmla="*/ 0 w 32"/>
                    <a:gd name="T7" fmla="*/ 0 h 1"/>
                    <a:gd name="T8" fmla="*/ 32 w 32"/>
                    <a:gd name="T9" fmla="*/ 0 h 1"/>
                    <a:gd name="T10" fmla="*/ 32 w 32"/>
                    <a:gd name="T11" fmla="*/ 0 h 1"/>
                    <a:gd name="T12" fmla="*/ 32 w 32"/>
                    <a:gd name="T13" fmla="*/ 1 h 1"/>
                    <a:gd name="T14" fmla="*/ 32 w 32"/>
                    <a:gd name="T15" fmla="*/ 1 h 1"/>
                    <a:gd name="T16" fmla="*/ 32 w 3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moveTo>
                        <a:pt x="32" y="0"/>
                      </a:moveTo>
                      <a:lnTo>
                        <a:pt x="32" y="0"/>
                      </a:lnTo>
                      <a:lnTo>
                        <a:pt x="32" y="1"/>
                      </a:lnTo>
                      <a:lnTo>
                        <a:pt x="32" y="1"/>
                      </a:lnTo>
                      <a:lnTo>
                        <a:pt x="3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Rectangle 91"/>
                <p:cNvSpPr>
                  <a:spLocks noChangeArrowhead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prstGeom prst="rect">
                  <a:avLst/>
                </a:prstGeom>
                <a:solidFill>
                  <a:srgbClr val="22737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Rectangle 92"/>
                <p:cNvSpPr>
                  <a:spLocks noChangeArrowhead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94"/>
                <p:cNvSpPr>
                  <a:spLocks/>
                </p:cNvSpPr>
                <p:nvPr/>
              </p:nvSpPr>
              <p:spPr bwMode="auto">
                <a:xfrm>
                  <a:off x="2340829" y="2152651"/>
                  <a:ext cx="276225" cy="169863"/>
                </a:xfrm>
                <a:custGeom>
                  <a:avLst/>
                  <a:gdLst>
                    <a:gd name="T0" fmla="*/ 163 w 172"/>
                    <a:gd name="T1" fmla="*/ 36 h 105"/>
                    <a:gd name="T2" fmla="*/ 101 w 172"/>
                    <a:gd name="T3" fmla="*/ 3 h 105"/>
                    <a:gd name="T4" fmla="*/ 86 w 172"/>
                    <a:gd name="T5" fmla="*/ 11 h 105"/>
                    <a:gd name="T6" fmla="*/ 71 w 172"/>
                    <a:gd name="T7" fmla="*/ 3 h 105"/>
                    <a:gd name="T8" fmla="*/ 9 w 172"/>
                    <a:gd name="T9" fmla="*/ 36 h 105"/>
                    <a:gd name="T10" fmla="*/ 0 w 172"/>
                    <a:gd name="T11" fmla="*/ 65 h 105"/>
                    <a:gd name="T12" fmla="*/ 0 w 172"/>
                    <a:gd name="T13" fmla="*/ 104 h 105"/>
                    <a:gd name="T14" fmla="*/ 14 w 172"/>
                    <a:gd name="T15" fmla="*/ 101 h 105"/>
                    <a:gd name="T16" fmla="*/ 24 w 172"/>
                    <a:gd name="T17" fmla="*/ 74 h 105"/>
                    <a:gd name="T18" fmla="*/ 45 w 172"/>
                    <a:gd name="T19" fmla="*/ 48 h 105"/>
                    <a:gd name="T20" fmla="*/ 86 w 172"/>
                    <a:gd name="T21" fmla="*/ 33 h 105"/>
                    <a:gd name="T22" fmla="*/ 127 w 172"/>
                    <a:gd name="T23" fmla="*/ 48 h 105"/>
                    <a:gd name="T24" fmla="*/ 148 w 172"/>
                    <a:gd name="T25" fmla="*/ 74 h 105"/>
                    <a:gd name="T26" fmla="*/ 159 w 172"/>
                    <a:gd name="T27" fmla="*/ 101 h 105"/>
                    <a:gd name="T28" fmla="*/ 172 w 172"/>
                    <a:gd name="T29" fmla="*/ 104 h 105"/>
                    <a:gd name="T30" fmla="*/ 172 w 172"/>
                    <a:gd name="T31" fmla="*/ 65 h 105"/>
                    <a:gd name="T32" fmla="*/ 163 w 172"/>
                    <a:gd name="T33" fmla="*/ 36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72" h="105">
                      <a:moveTo>
                        <a:pt x="163" y="36"/>
                      </a:moveTo>
                      <a:cubicBezTo>
                        <a:pt x="157" y="23"/>
                        <a:pt x="109" y="6"/>
                        <a:pt x="101" y="3"/>
                      </a:cubicBezTo>
                      <a:cubicBezTo>
                        <a:pt x="92" y="0"/>
                        <a:pt x="86" y="11"/>
                        <a:pt x="86" y="11"/>
                      </a:cubicBezTo>
                      <a:cubicBezTo>
                        <a:pt x="86" y="11"/>
                        <a:pt x="80" y="0"/>
                        <a:pt x="71" y="3"/>
                      </a:cubicBezTo>
                      <a:cubicBezTo>
                        <a:pt x="63" y="6"/>
                        <a:pt x="15" y="23"/>
                        <a:pt x="9" y="36"/>
                      </a:cubicBezTo>
                      <a:cubicBezTo>
                        <a:pt x="3" y="48"/>
                        <a:pt x="0" y="57"/>
                        <a:pt x="0" y="65"/>
                      </a:cubicBezTo>
                      <a:cubicBezTo>
                        <a:pt x="0" y="74"/>
                        <a:pt x="0" y="104"/>
                        <a:pt x="0" y="104"/>
                      </a:cubicBezTo>
                      <a:cubicBezTo>
                        <a:pt x="0" y="104"/>
                        <a:pt x="9" y="105"/>
                        <a:pt x="14" y="101"/>
                      </a:cubicBezTo>
                      <a:cubicBezTo>
                        <a:pt x="19" y="98"/>
                        <a:pt x="24" y="87"/>
                        <a:pt x="24" y="74"/>
                      </a:cubicBezTo>
                      <a:cubicBezTo>
                        <a:pt x="24" y="61"/>
                        <a:pt x="34" y="50"/>
                        <a:pt x="45" y="48"/>
                      </a:cubicBezTo>
                      <a:cubicBezTo>
                        <a:pt x="58" y="46"/>
                        <a:pt x="86" y="41"/>
                        <a:pt x="86" y="33"/>
                      </a:cubicBezTo>
                      <a:cubicBezTo>
                        <a:pt x="86" y="41"/>
                        <a:pt x="117" y="46"/>
                        <a:pt x="127" y="48"/>
                      </a:cubicBezTo>
                      <a:cubicBezTo>
                        <a:pt x="139" y="50"/>
                        <a:pt x="148" y="61"/>
                        <a:pt x="148" y="74"/>
                      </a:cubicBezTo>
                      <a:cubicBezTo>
                        <a:pt x="148" y="87"/>
                        <a:pt x="154" y="98"/>
                        <a:pt x="159" y="101"/>
                      </a:cubicBezTo>
                      <a:cubicBezTo>
                        <a:pt x="164" y="105"/>
                        <a:pt x="172" y="104"/>
                        <a:pt x="172" y="104"/>
                      </a:cubicBezTo>
                      <a:cubicBezTo>
                        <a:pt x="172" y="104"/>
                        <a:pt x="172" y="74"/>
                        <a:pt x="172" y="65"/>
                      </a:cubicBezTo>
                      <a:cubicBezTo>
                        <a:pt x="172" y="57"/>
                        <a:pt x="169" y="48"/>
                        <a:pt x="163" y="36"/>
                      </a:cubicBezTo>
                      <a:close/>
                    </a:path>
                  </a:pathLst>
                </a:custGeom>
                <a:solidFill>
                  <a:srgbClr val="6053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83" name="Freeform 74"/>
              <p:cNvSpPr>
                <a:spLocks/>
              </p:cNvSpPr>
              <p:nvPr/>
            </p:nvSpPr>
            <p:spPr bwMode="auto">
              <a:xfrm>
                <a:off x="2548790" y="2485233"/>
                <a:ext cx="233363" cy="561975"/>
              </a:xfrm>
              <a:custGeom>
                <a:avLst/>
                <a:gdLst>
                  <a:gd name="T0" fmla="*/ 111 w 147"/>
                  <a:gd name="T1" fmla="*/ 0 h 354"/>
                  <a:gd name="T2" fmla="*/ 111 w 147"/>
                  <a:gd name="T3" fmla="*/ 39 h 354"/>
                  <a:gd name="T4" fmla="*/ 147 w 147"/>
                  <a:gd name="T5" fmla="*/ 354 h 354"/>
                  <a:gd name="T6" fmla="*/ 84 w 147"/>
                  <a:gd name="T7" fmla="*/ 354 h 354"/>
                  <a:gd name="T8" fmla="*/ 15 w 147"/>
                  <a:gd name="T9" fmla="*/ 214 h 354"/>
                  <a:gd name="T10" fmla="*/ 81 w 147"/>
                  <a:gd name="T11" fmla="*/ 169 h 354"/>
                  <a:gd name="T12" fmla="*/ 0 w 147"/>
                  <a:gd name="T13" fmla="*/ 132 h 354"/>
                  <a:gd name="T14" fmla="*/ 75 w 147"/>
                  <a:gd name="T15" fmla="*/ 16 h 354"/>
                  <a:gd name="T16" fmla="*/ 111 w 147"/>
                  <a:gd name="T17" fmla="*/ 0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" h="354">
                    <a:moveTo>
                      <a:pt x="111" y="0"/>
                    </a:moveTo>
                    <a:lnTo>
                      <a:pt x="111" y="39"/>
                    </a:lnTo>
                    <a:lnTo>
                      <a:pt x="147" y="354"/>
                    </a:lnTo>
                    <a:lnTo>
                      <a:pt x="84" y="354"/>
                    </a:lnTo>
                    <a:lnTo>
                      <a:pt x="15" y="214"/>
                    </a:lnTo>
                    <a:lnTo>
                      <a:pt x="81" y="169"/>
                    </a:lnTo>
                    <a:lnTo>
                      <a:pt x="0" y="132"/>
                    </a:lnTo>
                    <a:lnTo>
                      <a:pt x="75" y="16"/>
                    </a:lnTo>
                    <a:lnTo>
                      <a:pt x="111" y="0"/>
                    </a:lnTo>
                    <a:close/>
                  </a:path>
                </a:pathLst>
              </a:custGeom>
              <a:solidFill>
                <a:srgbClr val="1A1A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2639220" y="2590802"/>
              <a:ext cx="709612" cy="769937"/>
              <a:chOff x="2668588" y="2424907"/>
              <a:chExt cx="709612" cy="769937"/>
            </a:xfrm>
          </p:grpSpPr>
          <p:sp>
            <p:nvSpPr>
              <p:cNvPr id="177" name="Freeform 100"/>
              <p:cNvSpPr>
                <a:spLocks/>
              </p:cNvSpPr>
              <p:nvPr/>
            </p:nvSpPr>
            <p:spPr bwMode="auto">
              <a:xfrm>
                <a:off x="3257550" y="2820194"/>
                <a:ext cx="120650" cy="177800"/>
              </a:xfrm>
              <a:custGeom>
                <a:avLst/>
                <a:gdLst>
                  <a:gd name="T0" fmla="*/ 57 w 75"/>
                  <a:gd name="T1" fmla="*/ 7 h 111"/>
                  <a:gd name="T2" fmla="*/ 11 w 75"/>
                  <a:gd name="T3" fmla="*/ 43 h 111"/>
                  <a:gd name="T4" fmla="*/ 18 w 75"/>
                  <a:gd name="T5" fmla="*/ 104 h 111"/>
                  <a:gd name="T6" fmla="*/ 64 w 75"/>
                  <a:gd name="T7" fmla="*/ 68 h 111"/>
                  <a:gd name="T8" fmla="*/ 57 w 75"/>
                  <a:gd name="T9" fmla="*/ 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11">
                    <a:moveTo>
                      <a:pt x="57" y="7"/>
                    </a:moveTo>
                    <a:cubicBezTo>
                      <a:pt x="43" y="0"/>
                      <a:pt x="22" y="17"/>
                      <a:pt x="11" y="43"/>
                    </a:cubicBezTo>
                    <a:cubicBezTo>
                      <a:pt x="0" y="70"/>
                      <a:pt x="3" y="97"/>
                      <a:pt x="18" y="104"/>
                    </a:cubicBezTo>
                    <a:cubicBezTo>
                      <a:pt x="33" y="111"/>
                      <a:pt x="53" y="94"/>
                      <a:pt x="64" y="68"/>
                    </a:cubicBezTo>
                    <a:cubicBezTo>
                      <a:pt x="75" y="41"/>
                      <a:pt x="72" y="14"/>
                      <a:pt x="57" y="7"/>
                    </a:cubicBezTo>
                    <a:close/>
                  </a:path>
                </a:pathLst>
              </a:custGeom>
              <a:solidFill>
                <a:srgbClr val="F6DB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01"/>
              <p:cNvSpPr>
                <a:spLocks/>
              </p:cNvSpPr>
              <p:nvPr/>
            </p:nvSpPr>
            <p:spPr bwMode="auto">
              <a:xfrm>
                <a:off x="2695575" y="2820194"/>
                <a:ext cx="122238" cy="177800"/>
              </a:xfrm>
              <a:custGeom>
                <a:avLst/>
                <a:gdLst>
                  <a:gd name="T0" fmla="*/ 18 w 76"/>
                  <a:gd name="T1" fmla="*/ 7 h 111"/>
                  <a:gd name="T2" fmla="*/ 65 w 76"/>
                  <a:gd name="T3" fmla="*/ 43 h 111"/>
                  <a:gd name="T4" fmla="*/ 58 w 76"/>
                  <a:gd name="T5" fmla="*/ 104 h 111"/>
                  <a:gd name="T6" fmla="*/ 11 w 76"/>
                  <a:gd name="T7" fmla="*/ 68 h 111"/>
                  <a:gd name="T8" fmla="*/ 18 w 76"/>
                  <a:gd name="T9" fmla="*/ 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11">
                    <a:moveTo>
                      <a:pt x="18" y="7"/>
                    </a:moveTo>
                    <a:cubicBezTo>
                      <a:pt x="33" y="0"/>
                      <a:pt x="54" y="17"/>
                      <a:pt x="65" y="43"/>
                    </a:cubicBezTo>
                    <a:cubicBezTo>
                      <a:pt x="76" y="70"/>
                      <a:pt x="72" y="97"/>
                      <a:pt x="58" y="104"/>
                    </a:cubicBezTo>
                    <a:cubicBezTo>
                      <a:pt x="43" y="111"/>
                      <a:pt x="22" y="94"/>
                      <a:pt x="11" y="68"/>
                    </a:cubicBezTo>
                    <a:cubicBezTo>
                      <a:pt x="0" y="41"/>
                      <a:pt x="3" y="14"/>
                      <a:pt x="18" y="7"/>
                    </a:cubicBezTo>
                    <a:close/>
                  </a:path>
                </a:pathLst>
              </a:custGeom>
              <a:solidFill>
                <a:srgbClr val="F6DB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02"/>
              <p:cNvSpPr>
                <a:spLocks/>
              </p:cNvSpPr>
              <p:nvPr/>
            </p:nvSpPr>
            <p:spPr bwMode="auto">
              <a:xfrm>
                <a:off x="2919413" y="3112294"/>
                <a:ext cx="234950" cy="82550"/>
              </a:xfrm>
              <a:custGeom>
                <a:avLst/>
                <a:gdLst>
                  <a:gd name="T0" fmla="*/ 147 w 147"/>
                  <a:gd name="T1" fmla="*/ 0 h 51"/>
                  <a:gd name="T2" fmla="*/ 0 w 147"/>
                  <a:gd name="T3" fmla="*/ 0 h 51"/>
                  <a:gd name="T4" fmla="*/ 0 w 147"/>
                  <a:gd name="T5" fmla="*/ 5 h 51"/>
                  <a:gd name="T6" fmla="*/ 73 w 147"/>
                  <a:gd name="T7" fmla="*/ 51 h 51"/>
                  <a:gd name="T8" fmla="*/ 147 w 147"/>
                  <a:gd name="T9" fmla="*/ 4 h 51"/>
                  <a:gd name="T10" fmla="*/ 147 w 147"/>
                  <a:gd name="T1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7" h="51">
                    <a:moveTo>
                      <a:pt x="14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46" y="51"/>
                      <a:pt x="73" y="51"/>
                    </a:cubicBezTo>
                    <a:cubicBezTo>
                      <a:pt x="100" y="51"/>
                      <a:pt x="147" y="4"/>
                      <a:pt x="147" y="4"/>
                    </a:cubicBezTo>
                    <a:cubicBezTo>
                      <a:pt x="147" y="0"/>
                      <a:pt x="147" y="0"/>
                      <a:pt x="147" y="0"/>
                    </a:cubicBezTo>
                  </a:path>
                </a:pathLst>
              </a:custGeom>
              <a:solidFill>
                <a:srgbClr val="C5AF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03"/>
              <p:cNvSpPr>
                <a:spLocks/>
              </p:cNvSpPr>
              <p:nvPr/>
            </p:nvSpPr>
            <p:spPr bwMode="auto">
              <a:xfrm>
                <a:off x="2711450" y="2445544"/>
                <a:ext cx="652463" cy="723900"/>
              </a:xfrm>
              <a:custGeom>
                <a:avLst/>
                <a:gdLst>
                  <a:gd name="T0" fmla="*/ 203 w 406"/>
                  <a:gd name="T1" fmla="*/ 450 h 450"/>
                  <a:gd name="T2" fmla="*/ 30 w 406"/>
                  <a:gd name="T3" fmla="*/ 266 h 450"/>
                  <a:gd name="T4" fmla="*/ 203 w 406"/>
                  <a:gd name="T5" fmla="*/ 0 h 450"/>
                  <a:gd name="T6" fmla="*/ 375 w 406"/>
                  <a:gd name="T7" fmla="*/ 266 h 450"/>
                  <a:gd name="T8" fmla="*/ 203 w 406"/>
                  <a:gd name="T9" fmla="*/ 45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450">
                    <a:moveTo>
                      <a:pt x="203" y="450"/>
                    </a:moveTo>
                    <a:cubicBezTo>
                      <a:pt x="157" y="450"/>
                      <a:pt x="60" y="374"/>
                      <a:pt x="30" y="266"/>
                    </a:cubicBezTo>
                    <a:cubicBezTo>
                      <a:pt x="0" y="157"/>
                      <a:pt x="57" y="0"/>
                      <a:pt x="203" y="0"/>
                    </a:cubicBezTo>
                    <a:cubicBezTo>
                      <a:pt x="349" y="0"/>
                      <a:pt x="406" y="157"/>
                      <a:pt x="375" y="266"/>
                    </a:cubicBezTo>
                    <a:cubicBezTo>
                      <a:pt x="346" y="374"/>
                      <a:pt x="249" y="450"/>
                      <a:pt x="203" y="450"/>
                    </a:cubicBezTo>
                    <a:close/>
                  </a:path>
                </a:pathLst>
              </a:custGeom>
              <a:solidFill>
                <a:srgbClr val="F6DB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04"/>
              <p:cNvSpPr>
                <a:spLocks/>
              </p:cNvSpPr>
              <p:nvPr/>
            </p:nvSpPr>
            <p:spPr bwMode="auto">
              <a:xfrm>
                <a:off x="2668588" y="2424907"/>
                <a:ext cx="690563" cy="498475"/>
              </a:xfrm>
              <a:custGeom>
                <a:avLst/>
                <a:gdLst>
                  <a:gd name="T0" fmla="*/ 259 w 430"/>
                  <a:gd name="T1" fmla="*/ 148 h 310"/>
                  <a:gd name="T2" fmla="*/ 357 w 430"/>
                  <a:gd name="T3" fmla="*/ 226 h 310"/>
                  <a:gd name="T4" fmla="*/ 387 w 430"/>
                  <a:gd name="T5" fmla="*/ 301 h 310"/>
                  <a:gd name="T6" fmla="*/ 411 w 430"/>
                  <a:gd name="T7" fmla="*/ 145 h 310"/>
                  <a:gd name="T8" fmla="*/ 257 w 430"/>
                  <a:gd name="T9" fmla="*/ 4 h 310"/>
                  <a:gd name="T10" fmla="*/ 104 w 430"/>
                  <a:gd name="T11" fmla="*/ 47 h 310"/>
                  <a:gd name="T12" fmla="*/ 63 w 430"/>
                  <a:gd name="T13" fmla="*/ 310 h 310"/>
                  <a:gd name="T14" fmla="*/ 148 w 430"/>
                  <a:gd name="T15" fmla="*/ 105 h 310"/>
                  <a:gd name="T16" fmla="*/ 259 w 430"/>
                  <a:gd name="T17" fmla="*/ 148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0" h="310">
                    <a:moveTo>
                      <a:pt x="259" y="148"/>
                    </a:moveTo>
                    <a:cubicBezTo>
                      <a:pt x="295" y="223"/>
                      <a:pt x="310" y="246"/>
                      <a:pt x="357" y="226"/>
                    </a:cubicBezTo>
                    <a:cubicBezTo>
                      <a:pt x="405" y="206"/>
                      <a:pt x="396" y="262"/>
                      <a:pt x="387" y="301"/>
                    </a:cubicBezTo>
                    <a:cubicBezTo>
                      <a:pt x="430" y="248"/>
                      <a:pt x="425" y="197"/>
                      <a:pt x="411" y="145"/>
                    </a:cubicBezTo>
                    <a:cubicBezTo>
                      <a:pt x="397" y="88"/>
                      <a:pt x="325" y="2"/>
                      <a:pt x="257" y="4"/>
                    </a:cubicBezTo>
                    <a:cubicBezTo>
                      <a:pt x="220" y="0"/>
                      <a:pt x="164" y="5"/>
                      <a:pt x="104" y="47"/>
                    </a:cubicBezTo>
                    <a:cubicBezTo>
                      <a:pt x="0" y="122"/>
                      <a:pt x="35" y="290"/>
                      <a:pt x="63" y="310"/>
                    </a:cubicBezTo>
                    <a:cubicBezTo>
                      <a:pt x="36" y="155"/>
                      <a:pt x="102" y="186"/>
                      <a:pt x="148" y="105"/>
                    </a:cubicBezTo>
                    <a:cubicBezTo>
                      <a:pt x="163" y="69"/>
                      <a:pt x="221" y="67"/>
                      <a:pt x="259" y="148"/>
                    </a:cubicBezTo>
                    <a:close/>
                  </a:path>
                </a:pathLst>
              </a:custGeom>
              <a:solidFill>
                <a:srgbClr val="BF97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3" name="Freeform 105"/>
            <p:cNvSpPr>
              <a:spLocks/>
            </p:cNvSpPr>
            <p:nvPr/>
          </p:nvSpPr>
          <p:spPr bwMode="auto">
            <a:xfrm>
              <a:off x="2712245" y="3384552"/>
              <a:ext cx="234950" cy="433388"/>
            </a:xfrm>
            <a:custGeom>
              <a:avLst/>
              <a:gdLst>
                <a:gd name="T0" fmla="*/ 148 w 148"/>
                <a:gd name="T1" fmla="*/ 272 h 273"/>
                <a:gd name="T2" fmla="*/ 84 w 148"/>
                <a:gd name="T3" fmla="*/ 272 h 273"/>
                <a:gd name="T4" fmla="*/ 80 w 148"/>
                <a:gd name="T5" fmla="*/ 273 h 273"/>
                <a:gd name="T6" fmla="*/ 16 w 148"/>
                <a:gd name="T7" fmla="*/ 213 h 273"/>
                <a:gd name="T8" fmla="*/ 81 w 148"/>
                <a:gd name="T9" fmla="*/ 169 h 273"/>
                <a:gd name="T10" fmla="*/ 0 w 148"/>
                <a:gd name="T11" fmla="*/ 131 h 273"/>
                <a:gd name="T12" fmla="*/ 54 w 148"/>
                <a:gd name="T13" fmla="*/ 48 h 273"/>
                <a:gd name="T14" fmla="*/ 75 w 148"/>
                <a:gd name="T15" fmla="*/ 16 h 273"/>
                <a:gd name="T16" fmla="*/ 111 w 148"/>
                <a:gd name="T17" fmla="*/ 0 h 273"/>
                <a:gd name="T18" fmla="*/ 111 w 148"/>
                <a:gd name="T19" fmla="*/ 38 h 273"/>
                <a:gd name="T20" fmla="*/ 147 w 148"/>
                <a:gd name="T21" fmla="*/ 273 h 273"/>
                <a:gd name="T22" fmla="*/ 148 w 148"/>
                <a:gd name="T23" fmla="*/ 27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73">
                  <a:moveTo>
                    <a:pt x="148" y="272"/>
                  </a:moveTo>
                  <a:lnTo>
                    <a:pt x="84" y="272"/>
                  </a:lnTo>
                  <a:lnTo>
                    <a:pt x="80" y="273"/>
                  </a:lnTo>
                  <a:lnTo>
                    <a:pt x="16" y="213"/>
                  </a:lnTo>
                  <a:lnTo>
                    <a:pt x="81" y="169"/>
                  </a:lnTo>
                  <a:lnTo>
                    <a:pt x="0" y="131"/>
                  </a:lnTo>
                  <a:lnTo>
                    <a:pt x="54" y="48"/>
                  </a:lnTo>
                  <a:lnTo>
                    <a:pt x="75" y="16"/>
                  </a:lnTo>
                  <a:lnTo>
                    <a:pt x="111" y="0"/>
                  </a:lnTo>
                  <a:lnTo>
                    <a:pt x="111" y="38"/>
                  </a:lnTo>
                  <a:lnTo>
                    <a:pt x="147" y="273"/>
                  </a:lnTo>
                  <a:lnTo>
                    <a:pt x="148" y="272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06"/>
            <p:cNvSpPr>
              <a:spLocks/>
            </p:cNvSpPr>
            <p:nvPr/>
          </p:nvSpPr>
          <p:spPr bwMode="auto">
            <a:xfrm>
              <a:off x="3067845" y="3381377"/>
              <a:ext cx="231775" cy="436563"/>
            </a:xfrm>
            <a:custGeom>
              <a:avLst/>
              <a:gdLst>
                <a:gd name="T0" fmla="*/ 66 w 146"/>
                <a:gd name="T1" fmla="*/ 169 h 275"/>
                <a:gd name="T2" fmla="*/ 132 w 146"/>
                <a:gd name="T3" fmla="*/ 212 h 275"/>
                <a:gd name="T4" fmla="*/ 67 w 146"/>
                <a:gd name="T5" fmla="*/ 275 h 275"/>
                <a:gd name="T6" fmla="*/ 63 w 146"/>
                <a:gd name="T7" fmla="*/ 274 h 275"/>
                <a:gd name="T8" fmla="*/ 0 w 146"/>
                <a:gd name="T9" fmla="*/ 274 h 275"/>
                <a:gd name="T10" fmla="*/ 1 w 146"/>
                <a:gd name="T11" fmla="*/ 275 h 275"/>
                <a:gd name="T12" fmla="*/ 37 w 146"/>
                <a:gd name="T13" fmla="*/ 37 h 275"/>
                <a:gd name="T14" fmla="*/ 37 w 146"/>
                <a:gd name="T15" fmla="*/ 0 h 275"/>
                <a:gd name="T16" fmla="*/ 81 w 146"/>
                <a:gd name="T17" fmla="*/ 19 h 275"/>
                <a:gd name="T18" fmla="*/ 100 w 146"/>
                <a:gd name="T19" fmla="*/ 51 h 275"/>
                <a:gd name="T20" fmla="*/ 146 w 146"/>
                <a:gd name="T21" fmla="*/ 130 h 275"/>
                <a:gd name="T22" fmla="*/ 66 w 146"/>
                <a:gd name="T23" fmla="*/ 16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275">
                  <a:moveTo>
                    <a:pt x="66" y="169"/>
                  </a:moveTo>
                  <a:lnTo>
                    <a:pt x="132" y="212"/>
                  </a:lnTo>
                  <a:lnTo>
                    <a:pt x="67" y="275"/>
                  </a:lnTo>
                  <a:lnTo>
                    <a:pt x="63" y="274"/>
                  </a:lnTo>
                  <a:lnTo>
                    <a:pt x="0" y="274"/>
                  </a:lnTo>
                  <a:lnTo>
                    <a:pt x="1" y="275"/>
                  </a:lnTo>
                  <a:lnTo>
                    <a:pt x="37" y="37"/>
                  </a:lnTo>
                  <a:lnTo>
                    <a:pt x="37" y="0"/>
                  </a:lnTo>
                  <a:lnTo>
                    <a:pt x="81" y="19"/>
                  </a:lnTo>
                  <a:lnTo>
                    <a:pt x="100" y="51"/>
                  </a:lnTo>
                  <a:lnTo>
                    <a:pt x="146" y="130"/>
                  </a:lnTo>
                  <a:lnTo>
                    <a:pt x="66" y="169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07"/>
            <p:cNvSpPr>
              <a:spLocks/>
            </p:cNvSpPr>
            <p:nvPr/>
          </p:nvSpPr>
          <p:spPr bwMode="auto">
            <a:xfrm>
              <a:off x="5316538" y="1786732"/>
              <a:ext cx="379413" cy="960438"/>
            </a:xfrm>
            <a:custGeom>
              <a:avLst/>
              <a:gdLst>
                <a:gd name="T0" fmla="*/ 85 w 236"/>
                <a:gd name="T1" fmla="*/ 54 h 598"/>
                <a:gd name="T2" fmla="*/ 191 w 236"/>
                <a:gd name="T3" fmla="*/ 103 h 598"/>
                <a:gd name="T4" fmla="*/ 221 w 236"/>
                <a:gd name="T5" fmla="*/ 279 h 598"/>
                <a:gd name="T6" fmla="*/ 113 w 236"/>
                <a:gd name="T7" fmla="*/ 597 h 598"/>
                <a:gd name="T8" fmla="*/ 18 w 236"/>
                <a:gd name="T9" fmla="*/ 271 h 598"/>
                <a:gd name="T10" fmla="*/ 85 w 236"/>
                <a:gd name="T11" fmla="*/ 54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6" h="598">
                  <a:moveTo>
                    <a:pt x="85" y="54"/>
                  </a:moveTo>
                  <a:cubicBezTo>
                    <a:pt x="94" y="25"/>
                    <a:pt x="163" y="0"/>
                    <a:pt x="191" y="103"/>
                  </a:cubicBezTo>
                  <a:cubicBezTo>
                    <a:pt x="219" y="206"/>
                    <a:pt x="205" y="243"/>
                    <a:pt x="221" y="279"/>
                  </a:cubicBezTo>
                  <a:cubicBezTo>
                    <a:pt x="236" y="316"/>
                    <a:pt x="200" y="598"/>
                    <a:pt x="113" y="597"/>
                  </a:cubicBezTo>
                  <a:cubicBezTo>
                    <a:pt x="20" y="596"/>
                    <a:pt x="0" y="326"/>
                    <a:pt x="18" y="271"/>
                  </a:cubicBezTo>
                  <a:cubicBezTo>
                    <a:pt x="37" y="217"/>
                    <a:pt x="20" y="54"/>
                    <a:pt x="85" y="54"/>
                  </a:cubicBezTo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08"/>
            <p:cNvSpPr>
              <a:spLocks/>
            </p:cNvSpPr>
            <p:nvPr/>
          </p:nvSpPr>
          <p:spPr bwMode="auto">
            <a:xfrm>
              <a:off x="5702300" y="1786732"/>
              <a:ext cx="379413" cy="960438"/>
            </a:xfrm>
            <a:custGeom>
              <a:avLst/>
              <a:gdLst>
                <a:gd name="T0" fmla="*/ 151 w 237"/>
                <a:gd name="T1" fmla="*/ 54 h 598"/>
                <a:gd name="T2" fmla="*/ 45 w 237"/>
                <a:gd name="T3" fmla="*/ 103 h 598"/>
                <a:gd name="T4" fmla="*/ 15 w 237"/>
                <a:gd name="T5" fmla="*/ 279 h 598"/>
                <a:gd name="T6" fmla="*/ 123 w 237"/>
                <a:gd name="T7" fmla="*/ 597 h 598"/>
                <a:gd name="T8" fmla="*/ 218 w 237"/>
                <a:gd name="T9" fmla="*/ 271 h 598"/>
                <a:gd name="T10" fmla="*/ 151 w 237"/>
                <a:gd name="T11" fmla="*/ 54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7" h="598">
                  <a:moveTo>
                    <a:pt x="151" y="54"/>
                  </a:moveTo>
                  <a:cubicBezTo>
                    <a:pt x="142" y="25"/>
                    <a:pt x="73" y="0"/>
                    <a:pt x="45" y="103"/>
                  </a:cubicBezTo>
                  <a:cubicBezTo>
                    <a:pt x="17" y="206"/>
                    <a:pt x="31" y="243"/>
                    <a:pt x="15" y="279"/>
                  </a:cubicBezTo>
                  <a:cubicBezTo>
                    <a:pt x="0" y="316"/>
                    <a:pt x="37" y="598"/>
                    <a:pt x="123" y="597"/>
                  </a:cubicBezTo>
                  <a:cubicBezTo>
                    <a:pt x="216" y="596"/>
                    <a:pt x="237" y="326"/>
                    <a:pt x="218" y="271"/>
                  </a:cubicBezTo>
                  <a:cubicBezTo>
                    <a:pt x="200" y="217"/>
                    <a:pt x="216" y="54"/>
                    <a:pt x="151" y="54"/>
                  </a:cubicBezTo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09"/>
            <p:cNvSpPr>
              <a:spLocks/>
            </p:cNvSpPr>
            <p:nvPr/>
          </p:nvSpPr>
          <p:spPr bwMode="auto">
            <a:xfrm>
              <a:off x="5116513" y="2553494"/>
              <a:ext cx="1182688" cy="442913"/>
            </a:xfrm>
            <a:custGeom>
              <a:avLst/>
              <a:gdLst>
                <a:gd name="T0" fmla="*/ 438 w 737"/>
                <a:gd name="T1" fmla="*/ 0 h 276"/>
                <a:gd name="T2" fmla="*/ 295 w 737"/>
                <a:gd name="T3" fmla="*/ 7 h 276"/>
                <a:gd name="T4" fmla="*/ 79 w 737"/>
                <a:gd name="T5" fmla="*/ 99 h 276"/>
                <a:gd name="T6" fmla="*/ 0 w 737"/>
                <a:gd name="T7" fmla="*/ 276 h 276"/>
                <a:gd name="T8" fmla="*/ 737 w 737"/>
                <a:gd name="T9" fmla="*/ 276 h 276"/>
                <a:gd name="T10" fmla="*/ 658 w 737"/>
                <a:gd name="T11" fmla="*/ 99 h 276"/>
                <a:gd name="T12" fmla="*/ 438 w 737"/>
                <a:gd name="T1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7" h="276">
                  <a:moveTo>
                    <a:pt x="438" y="0"/>
                  </a:moveTo>
                  <a:cubicBezTo>
                    <a:pt x="437" y="3"/>
                    <a:pt x="296" y="5"/>
                    <a:pt x="295" y="7"/>
                  </a:cubicBezTo>
                  <a:cubicBezTo>
                    <a:pt x="250" y="70"/>
                    <a:pt x="155" y="82"/>
                    <a:pt x="79" y="99"/>
                  </a:cubicBezTo>
                  <a:cubicBezTo>
                    <a:pt x="3" y="116"/>
                    <a:pt x="0" y="212"/>
                    <a:pt x="0" y="276"/>
                  </a:cubicBezTo>
                  <a:cubicBezTo>
                    <a:pt x="737" y="276"/>
                    <a:pt x="737" y="276"/>
                    <a:pt x="737" y="276"/>
                  </a:cubicBezTo>
                  <a:cubicBezTo>
                    <a:pt x="737" y="212"/>
                    <a:pt x="736" y="116"/>
                    <a:pt x="658" y="99"/>
                  </a:cubicBezTo>
                  <a:cubicBezTo>
                    <a:pt x="581" y="81"/>
                    <a:pt x="480" y="66"/>
                    <a:pt x="438" y="0"/>
                  </a:cubicBezTo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10"/>
            <p:cNvSpPr>
              <a:spLocks/>
            </p:cNvSpPr>
            <p:nvPr/>
          </p:nvSpPr>
          <p:spPr bwMode="auto">
            <a:xfrm>
              <a:off x="5588000" y="2553494"/>
              <a:ext cx="238125" cy="442913"/>
            </a:xfrm>
            <a:custGeom>
              <a:avLst/>
              <a:gdLst>
                <a:gd name="T0" fmla="*/ 149 w 149"/>
                <a:gd name="T1" fmla="*/ 7 h 276"/>
                <a:gd name="T2" fmla="*/ 149 w 149"/>
                <a:gd name="T3" fmla="*/ 41 h 276"/>
                <a:gd name="T4" fmla="*/ 113 w 149"/>
                <a:gd name="T5" fmla="*/ 276 h 276"/>
                <a:gd name="T6" fmla="*/ 36 w 149"/>
                <a:gd name="T7" fmla="*/ 276 h 276"/>
                <a:gd name="T8" fmla="*/ 0 w 149"/>
                <a:gd name="T9" fmla="*/ 44 h 276"/>
                <a:gd name="T10" fmla="*/ 0 w 149"/>
                <a:gd name="T11" fmla="*/ 7 h 276"/>
                <a:gd name="T12" fmla="*/ 1 w 149"/>
                <a:gd name="T13" fmla="*/ 7 h 276"/>
                <a:gd name="T14" fmla="*/ 144 w 149"/>
                <a:gd name="T15" fmla="*/ 0 h 276"/>
                <a:gd name="T16" fmla="*/ 149 w 149"/>
                <a:gd name="T17" fmla="*/ 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276">
                  <a:moveTo>
                    <a:pt x="149" y="7"/>
                  </a:moveTo>
                  <a:cubicBezTo>
                    <a:pt x="149" y="41"/>
                    <a:pt x="149" y="41"/>
                    <a:pt x="149" y="41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36" y="276"/>
                    <a:pt x="36" y="276"/>
                    <a:pt x="36" y="27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5"/>
                    <a:pt x="143" y="3"/>
                    <a:pt x="144" y="0"/>
                  </a:cubicBezTo>
                  <a:cubicBezTo>
                    <a:pt x="146" y="2"/>
                    <a:pt x="147" y="4"/>
                    <a:pt x="149" y="7"/>
                  </a:cubicBezTo>
                  <a:close/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1"/>
            <p:cNvSpPr>
              <a:spLocks/>
            </p:cNvSpPr>
            <p:nvPr/>
          </p:nvSpPr>
          <p:spPr bwMode="auto">
            <a:xfrm>
              <a:off x="5589588" y="2155032"/>
              <a:ext cx="234950" cy="571500"/>
            </a:xfrm>
            <a:custGeom>
              <a:avLst/>
              <a:gdLst>
                <a:gd name="T0" fmla="*/ 0 w 147"/>
                <a:gd name="T1" fmla="*/ 98 h 356"/>
                <a:gd name="T2" fmla="*/ 0 w 147"/>
                <a:gd name="T3" fmla="*/ 219 h 356"/>
                <a:gd name="T4" fmla="*/ 0 w 147"/>
                <a:gd name="T5" fmla="*/ 278 h 356"/>
                <a:gd name="T6" fmla="*/ 147 w 147"/>
                <a:gd name="T7" fmla="*/ 278 h 356"/>
                <a:gd name="T8" fmla="*/ 147 w 147"/>
                <a:gd name="T9" fmla="*/ 219 h 356"/>
                <a:gd name="T10" fmla="*/ 147 w 147"/>
                <a:gd name="T11" fmla="*/ 98 h 356"/>
                <a:gd name="T12" fmla="*/ 0 w 147"/>
                <a:gd name="T13" fmla="*/ 9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56">
                  <a:moveTo>
                    <a:pt x="0" y="98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37" y="354"/>
                    <a:pt x="103" y="356"/>
                    <a:pt x="147" y="278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0"/>
                    <a:pt x="0" y="0"/>
                    <a:pt x="0" y="98"/>
                  </a:cubicBezTo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12"/>
            <p:cNvSpPr>
              <a:spLocks/>
            </p:cNvSpPr>
            <p:nvPr/>
          </p:nvSpPr>
          <p:spPr bwMode="auto">
            <a:xfrm>
              <a:off x="5927725" y="2164557"/>
              <a:ext cx="120650" cy="179388"/>
            </a:xfrm>
            <a:custGeom>
              <a:avLst/>
              <a:gdLst>
                <a:gd name="T0" fmla="*/ 57 w 75"/>
                <a:gd name="T1" fmla="*/ 7 h 111"/>
                <a:gd name="T2" fmla="*/ 11 w 75"/>
                <a:gd name="T3" fmla="*/ 43 h 111"/>
                <a:gd name="T4" fmla="*/ 18 w 75"/>
                <a:gd name="T5" fmla="*/ 104 h 111"/>
                <a:gd name="T6" fmla="*/ 64 w 75"/>
                <a:gd name="T7" fmla="*/ 68 h 111"/>
                <a:gd name="T8" fmla="*/ 57 w 75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11">
                  <a:moveTo>
                    <a:pt x="57" y="7"/>
                  </a:moveTo>
                  <a:cubicBezTo>
                    <a:pt x="43" y="0"/>
                    <a:pt x="22" y="17"/>
                    <a:pt x="11" y="43"/>
                  </a:cubicBezTo>
                  <a:cubicBezTo>
                    <a:pt x="0" y="70"/>
                    <a:pt x="3" y="97"/>
                    <a:pt x="18" y="104"/>
                  </a:cubicBezTo>
                  <a:cubicBezTo>
                    <a:pt x="33" y="111"/>
                    <a:pt x="53" y="94"/>
                    <a:pt x="64" y="68"/>
                  </a:cubicBezTo>
                  <a:cubicBezTo>
                    <a:pt x="75" y="41"/>
                    <a:pt x="72" y="14"/>
                    <a:pt x="57" y="7"/>
                  </a:cubicBezTo>
                  <a:close/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13"/>
            <p:cNvSpPr>
              <a:spLocks/>
            </p:cNvSpPr>
            <p:nvPr/>
          </p:nvSpPr>
          <p:spPr bwMode="auto">
            <a:xfrm>
              <a:off x="5365750" y="2164557"/>
              <a:ext cx="122238" cy="179388"/>
            </a:xfrm>
            <a:custGeom>
              <a:avLst/>
              <a:gdLst>
                <a:gd name="T0" fmla="*/ 18 w 76"/>
                <a:gd name="T1" fmla="*/ 7 h 111"/>
                <a:gd name="T2" fmla="*/ 65 w 76"/>
                <a:gd name="T3" fmla="*/ 43 h 111"/>
                <a:gd name="T4" fmla="*/ 58 w 76"/>
                <a:gd name="T5" fmla="*/ 104 h 111"/>
                <a:gd name="T6" fmla="*/ 11 w 76"/>
                <a:gd name="T7" fmla="*/ 68 h 111"/>
                <a:gd name="T8" fmla="*/ 18 w 76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11">
                  <a:moveTo>
                    <a:pt x="18" y="7"/>
                  </a:moveTo>
                  <a:cubicBezTo>
                    <a:pt x="33" y="0"/>
                    <a:pt x="54" y="17"/>
                    <a:pt x="65" y="43"/>
                  </a:cubicBezTo>
                  <a:cubicBezTo>
                    <a:pt x="76" y="70"/>
                    <a:pt x="72" y="97"/>
                    <a:pt x="58" y="104"/>
                  </a:cubicBezTo>
                  <a:cubicBezTo>
                    <a:pt x="43" y="111"/>
                    <a:pt x="22" y="94"/>
                    <a:pt x="11" y="68"/>
                  </a:cubicBezTo>
                  <a:cubicBezTo>
                    <a:pt x="0" y="41"/>
                    <a:pt x="3" y="14"/>
                    <a:pt x="18" y="7"/>
                  </a:cubicBezTo>
                  <a:close/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14"/>
            <p:cNvSpPr>
              <a:spLocks/>
            </p:cNvSpPr>
            <p:nvPr/>
          </p:nvSpPr>
          <p:spPr bwMode="auto">
            <a:xfrm>
              <a:off x="5589588" y="2458244"/>
              <a:ext cx="234950" cy="80963"/>
            </a:xfrm>
            <a:custGeom>
              <a:avLst/>
              <a:gdLst>
                <a:gd name="T0" fmla="*/ 147 w 147"/>
                <a:gd name="T1" fmla="*/ 0 h 51"/>
                <a:gd name="T2" fmla="*/ 0 w 147"/>
                <a:gd name="T3" fmla="*/ 0 h 51"/>
                <a:gd name="T4" fmla="*/ 0 w 147"/>
                <a:gd name="T5" fmla="*/ 5 h 51"/>
                <a:gd name="T6" fmla="*/ 73 w 147"/>
                <a:gd name="T7" fmla="*/ 51 h 51"/>
                <a:gd name="T8" fmla="*/ 147 w 147"/>
                <a:gd name="T9" fmla="*/ 4 h 51"/>
                <a:gd name="T10" fmla="*/ 147 w 147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51">
                  <a:moveTo>
                    <a:pt x="14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46" y="51"/>
                    <a:pt x="73" y="51"/>
                  </a:cubicBezTo>
                  <a:cubicBezTo>
                    <a:pt x="100" y="51"/>
                    <a:pt x="147" y="4"/>
                    <a:pt x="147" y="4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C5B0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15"/>
            <p:cNvSpPr>
              <a:spLocks/>
            </p:cNvSpPr>
            <p:nvPr/>
          </p:nvSpPr>
          <p:spPr bwMode="auto">
            <a:xfrm>
              <a:off x="5381625" y="1791494"/>
              <a:ext cx="652463" cy="722313"/>
            </a:xfrm>
            <a:custGeom>
              <a:avLst/>
              <a:gdLst>
                <a:gd name="T0" fmla="*/ 203 w 406"/>
                <a:gd name="T1" fmla="*/ 450 h 450"/>
                <a:gd name="T2" fmla="*/ 30 w 406"/>
                <a:gd name="T3" fmla="*/ 266 h 450"/>
                <a:gd name="T4" fmla="*/ 203 w 406"/>
                <a:gd name="T5" fmla="*/ 0 h 450"/>
                <a:gd name="T6" fmla="*/ 375 w 406"/>
                <a:gd name="T7" fmla="*/ 266 h 450"/>
                <a:gd name="T8" fmla="*/ 203 w 406"/>
                <a:gd name="T9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6" h="450">
                  <a:moveTo>
                    <a:pt x="203" y="450"/>
                  </a:moveTo>
                  <a:cubicBezTo>
                    <a:pt x="157" y="450"/>
                    <a:pt x="60" y="374"/>
                    <a:pt x="30" y="266"/>
                  </a:cubicBezTo>
                  <a:cubicBezTo>
                    <a:pt x="0" y="157"/>
                    <a:pt x="57" y="0"/>
                    <a:pt x="203" y="0"/>
                  </a:cubicBezTo>
                  <a:cubicBezTo>
                    <a:pt x="349" y="0"/>
                    <a:pt x="406" y="157"/>
                    <a:pt x="375" y="266"/>
                  </a:cubicBezTo>
                  <a:cubicBezTo>
                    <a:pt x="346" y="374"/>
                    <a:pt x="249" y="450"/>
                    <a:pt x="203" y="450"/>
                  </a:cubicBezTo>
                  <a:close/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16"/>
            <p:cNvSpPr>
              <a:spLocks/>
            </p:cNvSpPr>
            <p:nvPr/>
          </p:nvSpPr>
          <p:spPr bwMode="auto">
            <a:xfrm>
              <a:off x="5368925" y="1774032"/>
              <a:ext cx="657225" cy="493713"/>
            </a:xfrm>
            <a:custGeom>
              <a:avLst/>
              <a:gdLst>
                <a:gd name="T0" fmla="*/ 392 w 409"/>
                <a:gd name="T1" fmla="*/ 143 h 308"/>
                <a:gd name="T2" fmla="*/ 238 w 409"/>
                <a:gd name="T3" fmla="*/ 2 h 308"/>
                <a:gd name="T4" fmla="*/ 204 w 409"/>
                <a:gd name="T5" fmla="*/ 1 h 308"/>
                <a:gd name="T6" fmla="*/ 171 w 409"/>
                <a:gd name="T7" fmla="*/ 2 h 308"/>
                <a:gd name="T8" fmla="*/ 16 w 409"/>
                <a:gd name="T9" fmla="*/ 143 h 308"/>
                <a:gd name="T10" fmla="*/ 28 w 409"/>
                <a:gd name="T11" fmla="*/ 280 h 308"/>
                <a:gd name="T12" fmla="*/ 44 w 409"/>
                <a:gd name="T13" fmla="*/ 308 h 308"/>
                <a:gd name="T14" fmla="*/ 39 w 409"/>
                <a:gd name="T15" fmla="*/ 227 h 308"/>
                <a:gd name="T16" fmla="*/ 71 w 409"/>
                <a:gd name="T17" fmla="*/ 224 h 308"/>
                <a:gd name="T18" fmla="*/ 168 w 409"/>
                <a:gd name="T19" fmla="*/ 146 h 308"/>
                <a:gd name="T20" fmla="*/ 204 w 409"/>
                <a:gd name="T21" fmla="*/ 96 h 308"/>
                <a:gd name="T22" fmla="*/ 240 w 409"/>
                <a:gd name="T23" fmla="*/ 146 h 308"/>
                <a:gd name="T24" fmla="*/ 338 w 409"/>
                <a:gd name="T25" fmla="*/ 224 h 308"/>
                <a:gd name="T26" fmla="*/ 370 w 409"/>
                <a:gd name="T27" fmla="*/ 227 h 308"/>
                <a:gd name="T28" fmla="*/ 365 w 409"/>
                <a:gd name="T29" fmla="*/ 308 h 308"/>
                <a:gd name="T30" fmla="*/ 381 w 409"/>
                <a:gd name="T31" fmla="*/ 280 h 308"/>
                <a:gd name="T32" fmla="*/ 392 w 409"/>
                <a:gd name="T33" fmla="*/ 14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9" h="308">
                  <a:moveTo>
                    <a:pt x="392" y="143"/>
                  </a:moveTo>
                  <a:cubicBezTo>
                    <a:pt x="378" y="86"/>
                    <a:pt x="306" y="0"/>
                    <a:pt x="238" y="2"/>
                  </a:cubicBezTo>
                  <a:cubicBezTo>
                    <a:pt x="228" y="1"/>
                    <a:pt x="217" y="0"/>
                    <a:pt x="204" y="1"/>
                  </a:cubicBezTo>
                  <a:cubicBezTo>
                    <a:pt x="192" y="0"/>
                    <a:pt x="181" y="1"/>
                    <a:pt x="171" y="2"/>
                  </a:cubicBezTo>
                  <a:cubicBezTo>
                    <a:pt x="103" y="0"/>
                    <a:pt x="31" y="86"/>
                    <a:pt x="16" y="143"/>
                  </a:cubicBezTo>
                  <a:cubicBezTo>
                    <a:pt x="5" y="189"/>
                    <a:pt x="0" y="234"/>
                    <a:pt x="28" y="280"/>
                  </a:cubicBezTo>
                  <a:cubicBezTo>
                    <a:pt x="32" y="294"/>
                    <a:pt x="38" y="304"/>
                    <a:pt x="44" y="308"/>
                  </a:cubicBezTo>
                  <a:cubicBezTo>
                    <a:pt x="38" y="273"/>
                    <a:pt x="37" y="247"/>
                    <a:pt x="39" y="227"/>
                  </a:cubicBezTo>
                  <a:cubicBezTo>
                    <a:pt x="44" y="219"/>
                    <a:pt x="54" y="217"/>
                    <a:pt x="71" y="224"/>
                  </a:cubicBezTo>
                  <a:cubicBezTo>
                    <a:pt x="118" y="244"/>
                    <a:pt x="133" y="221"/>
                    <a:pt x="168" y="146"/>
                  </a:cubicBezTo>
                  <a:cubicBezTo>
                    <a:pt x="179" y="123"/>
                    <a:pt x="188" y="96"/>
                    <a:pt x="204" y="96"/>
                  </a:cubicBezTo>
                  <a:cubicBezTo>
                    <a:pt x="221" y="96"/>
                    <a:pt x="230" y="123"/>
                    <a:pt x="240" y="146"/>
                  </a:cubicBezTo>
                  <a:cubicBezTo>
                    <a:pt x="276" y="221"/>
                    <a:pt x="291" y="244"/>
                    <a:pt x="338" y="224"/>
                  </a:cubicBezTo>
                  <a:cubicBezTo>
                    <a:pt x="355" y="217"/>
                    <a:pt x="365" y="219"/>
                    <a:pt x="370" y="227"/>
                  </a:cubicBezTo>
                  <a:cubicBezTo>
                    <a:pt x="372" y="247"/>
                    <a:pt x="371" y="273"/>
                    <a:pt x="365" y="308"/>
                  </a:cubicBezTo>
                  <a:cubicBezTo>
                    <a:pt x="371" y="304"/>
                    <a:pt x="376" y="294"/>
                    <a:pt x="381" y="280"/>
                  </a:cubicBezTo>
                  <a:cubicBezTo>
                    <a:pt x="409" y="234"/>
                    <a:pt x="404" y="189"/>
                    <a:pt x="392" y="143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17"/>
            <p:cNvSpPr>
              <a:spLocks/>
            </p:cNvSpPr>
            <p:nvPr/>
          </p:nvSpPr>
          <p:spPr bwMode="auto">
            <a:xfrm>
              <a:off x="5413375" y="2563019"/>
              <a:ext cx="233363" cy="433388"/>
            </a:xfrm>
            <a:custGeom>
              <a:avLst/>
              <a:gdLst>
                <a:gd name="T0" fmla="*/ 147 w 147"/>
                <a:gd name="T1" fmla="*/ 272 h 273"/>
                <a:gd name="T2" fmla="*/ 84 w 147"/>
                <a:gd name="T3" fmla="*/ 272 h 273"/>
                <a:gd name="T4" fmla="*/ 80 w 147"/>
                <a:gd name="T5" fmla="*/ 273 h 273"/>
                <a:gd name="T6" fmla="*/ 15 w 147"/>
                <a:gd name="T7" fmla="*/ 214 h 273"/>
                <a:gd name="T8" fmla="*/ 81 w 147"/>
                <a:gd name="T9" fmla="*/ 169 h 273"/>
                <a:gd name="T10" fmla="*/ 0 w 147"/>
                <a:gd name="T11" fmla="*/ 132 h 273"/>
                <a:gd name="T12" fmla="*/ 53 w 147"/>
                <a:gd name="T13" fmla="*/ 49 h 273"/>
                <a:gd name="T14" fmla="*/ 74 w 147"/>
                <a:gd name="T15" fmla="*/ 16 h 273"/>
                <a:gd name="T16" fmla="*/ 110 w 147"/>
                <a:gd name="T17" fmla="*/ 0 h 273"/>
                <a:gd name="T18" fmla="*/ 110 w 147"/>
                <a:gd name="T19" fmla="*/ 39 h 273"/>
                <a:gd name="T20" fmla="*/ 146 w 147"/>
                <a:gd name="T21" fmla="*/ 273 h 273"/>
                <a:gd name="T22" fmla="*/ 147 w 147"/>
                <a:gd name="T23" fmla="*/ 27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7" h="273">
                  <a:moveTo>
                    <a:pt x="147" y="272"/>
                  </a:moveTo>
                  <a:lnTo>
                    <a:pt x="84" y="272"/>
                  </a:lnTo>
                  <a:lnTo>
                    <a:pt x="80" y="273"/>
                  </a:lnTo>
                  <a:lnTo>
                    <a:pt x="15" y="214"/>
                  </a:lnTo>
                  <a:lnTo>
                    <a:pt x="81" y="169"/>
                  </a:lnTo>
                  <a:lnTo>
                    <a:pt x="0" y="132"/>
                  </a:lnTo>
                  <a:lnTo>
                    <a:pt x="53" y="49"/>
                  </a:lnTo>
                  <a:lnTo>
                    <a:pt x="74" y="16"/>
                  </a:lnTo>
                  <a:lnTo>
                    <a:pt x="110" y="0"/>
                  </a:lnTo>
                  <a:lnTo>
                    <a:pt x="110" y="39"/>
                  </a:lnTo>
                  <a:lnTo>
                    <a:pt x="146" y="273"/>
                  </a:lnTo>
                  <a:lnTo>
                    <a:pt x="147" y="272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18"/>
            <p:cNvSpPr>
              <a:spLocks/>
            </p:cNvSpPr>
            <p:nvPr/>
          </p:nvSpPr>
          <p:spPr bwMode="auto">
            <a:xfrm>
              <a:off x="5767388" y="2559844"/>
              <a:ext cx="233363" cy="436563"/>
            </a:xfrm>
            <a:custGeom>
              <a:avLst/>
              <a:gdLst>
                <a:gd name="T0" fmla="*/ 66 w 147"/>
                <a:gd name="T1" fmla="*/ 169 h 275"/>
                <a:gd name="T2" fmla="*/ 133 w 147"/>
                <a:gd name="T3" fmla="*/ 213 h 275"/>
                <a:gd name="T4" fmla="*/ 67 w 147"/>
                <a:gd name="T5" fmla="*/ 275 h 275"/>
                <a:gd name="T6" fmla="*/ 63 w 147"/>
                <a:gd name="T7" fmla="*/ 274 h 275"/>
                <a:gd name="T8" fmla="*/ 0 w 147"/>
                <a:gd name="T9" fmla="*/ 274 h 275"/>
                <a:gd name="T10" fmla="*/ 1 w 147"/>
                <a:gd name="T11" fmla="*/ 275 h 275"/>
                <a:gd name="T12" fmla="*/ 37 w 147"/>
                <a:gd name="T13" fmla="*/ 38 h 275"/>
                <a:gd name="T14" fmla="*/ 37 w 147"/>
                <a:gd name="T15" fmla="*/ 0 h 275"/>
                <a:gd name="T16" fmla="*/ 81 w 147"/>
                <a:gd name="T17" fmla="*/ 19 h 275"/>
                <a:gd name="T18" fmla="*/ 100 w 147"/>
                <a:gd name="T19" fmla="*/ 52 h 275"/>
                <a:gd name="T20" fmla="*/ 147 w 147"/>
                <a:gd name="T21" fmla="*/ 131 h 275"/>
                <a:gd name="T22" fmla="*/ 66 w 147"/>
                <a:gd name="T23" fmla="*/ 16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7" h="275">
                  <a:moveTo>
                    <a:pt x="66" y="169"/>
                  </a:moveTo>
                  <a:lnTo>
                    <a:pt x="133" y="213"/>
                  </a:lnTo>
                  <a:lnTo>
                    <a:pt x="67" y="275"/>
                  </a:lnTo>
                  <a:lnTo>
                    <a:pt x="63" y="274"/>
                  </a:lnTo>
                  <a:lnTo>
                    <a:pt x="0" y="274"/>
                  </a:lnTo>
                  <a:lnTo>
                    <a:pt x="1" y="275"/>
                  </a:lnTo>
                  <a:lnTo>
                    <a:pt x="37" y="38"/>
                  </a:lnTo>
                  <a:lnTo>
                    <a:pt x="37" y="0"/>
                  </a:lnTo>
                  <a:lnTo>
                    <a:pt x="81" y="19"/>
                  </a:lnTo>
                  <a:lnTo>
                    <a:pt x="100" y="52"/>
                  </a:lnTo>
                  <a:lnTo>
                    <a:pt x="147" y="131"/>
                  </a:lnTo>
                  <a:lnTo>
                    <a:pt x="66" y="169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19"/>
            <p:cNvSpPr>
              <a:spLocks/>
            </p:cNvSpPr>
            <p:nvPr/>
          </p:nvSpPr>
          <p:spPr bwMode="auto">
            <a:xfrm>
              <a:off x="5621338" y="30868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20"/>
            <p:cNvSpPr>
              <a:spLocks/>
            </p:cNvSpPr>
            <p:nvPr/>
          </p:nvSpPr>
          <p:spPr bwMode="auto">
            <a:xfrm>
              <a:off x="5621338" y="30868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21"/>
            <p:cNvSpPr>
              <a:spLocks/>
            </p:cNvSpPr>
            <p:nvPr/>
          </p:nvSpPr>
          <p:spPr bwMode="auto">
            <a:xfrm>
              <a:off x="6110288" y="2680494"/>
              <a:ext cx="268288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DB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22"/>
            <p:cNvSpPr>
              <a:spLocks/>
            </p:cNvSpPr>
            <p:nvPr/>
          </p:nvSpPr>
          <p:spPr bwMode="auto">
            <a:xfrm>
              <a:off x="5934075" y="2645569"/>
              <a:ext cx="112713" cy="163513"/>
            </a:xfrm>
            <a:custGeom>
              <a:avLst/>
              <a:gdLst>
                <a:gd name="T0" fmla="*/ 19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19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19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4" y="92"/>
                    <a:pt x="50" y="97"/>
                  </a:cubicBezTo>
                  <a:cubicBezTo>
                    <a:pt x="35" y="102"/>
                    <a:pt x="16" y="85"/>
                    <a:pt x="8" y="60"/>
                  </a:cubicBezTo>
                  <a:cubicBezTo>
                    <a:pt x="0" y="34"/>
                    <a:pt x="5" y="10"/>
                    <a:pt x="19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23"/>
            <p:cNvSpPr>
              <a:spLocks/>
            </p:cNvSpPr>
            <p:nvPr/>
          </p:nvSpPr>
          <p:spPr bwMode="auto">
            <a:xfrm>
              <a:off x="6442075" y="2645569"/>
              <a:ext cx="111125" cy="163513"/>
            </a:xfrm>
            <a:custGeom>
              <a:avLst/>
              <a:gdLst>
                <a:gd name="T0" fmla="*/ 50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5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24"/>
            <p:cNvSpPr>
              <a:spLocks/>
            </p:cNvSpPr>
            <p:nvPr/>
          </p:nvSpPr>
          <p:spPr bwMode="auto">
            <a:xfrm>
              <a:off x="6186488" y="3217069"/>
              <a:ext cx="115888" cy="112713"/>
            </a:xfrm>
            <a:custGeom>
              <a:avLst/>
              <a:gdLst>
                <a:gd name="T0" fmla="*/ 0 w 72"/>
                <a:gd name="T1" fmla="*/ 39 h 70"/>
                <a:gd name="T2" fmla="*/ 21 w 72"/>
                <a:gd name="T3" fmla="*/ 70 h 70"/>
                <a:gd name="T4" fmla="*/ 52 w 72"/>
                <a:gd name="T5" fmla="*/ 70 h 70"/>
                <a:gd name="T6" fmla="*/ 72 w 72"/>
                <a:gd name="T7" fmla="*/ 39 h 70"/>
                <a:gd name="T8" fmla="*/ 37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31" y="70"/>
                    <a:pt x="42" y="70"/>
                    <a:pt x="52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25"/>
            <p:cNvSpPr>
              <a:spLocks/>
            </p:cNvSpPr>
            <p:nvPr/>
          </p:nvSpPr>
          <p:spPr bwMode="auto">
            <a:xfrm>
              <a:off x="6173788" y="332978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26"/>
            <p:cNvSpPr>
              <a:spLocks/>
            </p:cNvSpPr>
            <p:nvPr/>
          </p:nvSpPr>
          <p:spPr bwMode="auto">
            <a:xfrm>
              <a:off x="6173788" y="332978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27"/>
            <p:cNvSpPr>
              <a:spLocks/>
            </p:cNvSpPr>
            <p:nvPr/>
          </p:nvSpPr>
          <p:spPr bwMode="auto">
            <a:xfrm>
              <a:off x="6099175" y="30503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1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28"/>
            <p:cNvSpPr>
              <a:spLocks/>
            </p:cNvSpPr>
            <p:nvPr/>
          </p:nvSpPr>
          <p:spPr bwMode="auto">
            <a:xfrm>
              <a:off x="6099175" y="30503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1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29"/>
            <p:cNvSpPr>
              <a:spLocks/>
            </p:cNvSpPr>
            <p:nvPr/>
          </p:nvSpPr>
          <p:spPr bwMode="auto">
            <a:xfrm>
              <a:off x="6110288" y="2993232"/>
              <a:ext cx="268288" cy="93663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F8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30"/>
            <p:cNvSpPr>
              <a:spLocks/>
            </p:cNvSpPr>
            <p:nvPr/>
          </p:nvSpPr>
          <p:spPr bwMode="auto">
            <a:xfrm>
              <a:off x="5834063" y="2296319"/>
              <a:ext cx="822325" cy="760413"/>
            </a:xfrm>
            <a:custGeom>
              <a:avLst/>
              <a:gdLst>
                <a:gd name="T0" fmla="*/ 256 w 513"/>
                <a:gd name="T1" fmla="*/ 0 h 473"/>
                <a:gd name="T2" fmla="*/ 115 w 513"/>
                <a:gd name="T3" fmla="*/ 378 h 473"/>
                <a:gd name="T4" fmla="*/ 256 w 513"/>
                <a:gd name="T5" fmla="*/ 473 h 473"/>
                <a:gd name="T6" fmla="*/ 398 w 513"/>
                <a:gd name="T7" fmla="*/ 378 h 473"/>
                <a:gd name="T8" fmla="*/ 256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6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6" y="473"/>
                  </a:cubicBezTo>
                  <a:cubicBezTo>
                    <a:pt x="298" y="473"/>
                    <a:pt x="379" y="408"/>
                    <a:pt x="398" y="378"/>
                  </a:cubicBezTo>
                  <a:cubicBezTo>
                    <a:pt x="415" y="351"/>
                    <a:pt x="513" y="0"/>
                    <a:pt x="256" y="0"/>
                  </a:cubicBezTo>
                  <a:close/>
                </a:path>
              </a:pathLst>
            </a:custGeom>
            <a:solidFill>
              <a:srgbClr val="DB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31"/>
            <p:cNvSpPr>
              <a:spLocks noEditPoints="1"/>
            </p:cNvSpPr>
            <p:nvPr/>
          </p:nvSpPr>
          <p:spPr bwMode="auto">
            <a:xfrm>
              <a:off x="5916613" y="2201069"/>
              <a:ext cx="625475" cy="582613"/>
            </a:xfrm>
            <a:custGeom>
              <a:avLst/>
              <a:gdLst>
                <a:gd name="T0" fmla="*/ 93 w 390"/>
                <a:gd name="T1" fmla="*/ 68 h 363"/>
                <a:gd name="T2" fmla="*/ 390 w 390"/>
                <a:gd name="T3" fmla="*/ 66 h 363"/>
                <a:gd name="T4" fmla="*/ 374 w 390"/>
                <a:gd name="T5" fmla="*/ 357 h 363"/>
                <a:gd name="T6" fmla="*/ 374 w 390"/>
                <a:gd name="T7" fmla="*/ 357 h 363"/>
                <a:gd name="T8" fmla="*/ 374 w 390"/>
                <a:gd name="T9" fmla="*/ 360 h 363"/>
                <a:gd name="T10" fmla="*/ 372 w 390"/>
                <a:gd name="T11" fmla="*/ 363 h 363"/>
                <a:gd name="T12" fmla="*/ 367 w 390"/>
                <a:gd name="T13" fmla="*/ 362 h 363"/>
                <a:gd name="T14" fmla="*/ 366 w 390"/>
                <a:gd name="T15" fmla="*/ 361 h 363"/>
                <a:gd name="T16" fmla="*/ 366 w 390"/>
                <a:gd name="T17" fmla="*/ 339 h 363"/>
                <a:gd name="T18" fmla="*/ 371 w 390"/>
                <a:gd name="T19" fmla="*/ 307 h 363"/>
                <a:gd name="T20" fmla="*/ 327 w 390"/>
                <a:gd name="T21" fmla="*/ 183 h 363"/>
                <a:gd name="T22" fmla="*/ 318 w 390"/>
                <a:gd name="T23" fmla="*/ 171 h 363"/>
                <a:gd name="T24" fmla="*/ 307 w 390"/>
                <a:gd name="T25" fmla="*/ 158 h 363"/>
                <a:gd name="T26" fmla="*/ 301 w 390"/>
                <a:gd name="T27" fmla="*/ 154 h 363"/>
                <a:gd name="T28" fmla="*/ 212 w 390"/>
                <a:gd name="T29" fmla="*/ 168 h 363"/>
                <a:gd name="T30" fmla="*/ 129 w 390"/>
                <a:gd name="T31" fmla="*/ 186 h 363"/>
                <a:gd name="T32" fmla="*/ 93 w 390"/>
                <a:gd name="T33" fmla="*/ 176 h 363"/>
                <a:gd name="T34" fmla="*/ 45 w 390"/>
                <a:gd name="T35" fmla="*/ 315 h 363"/>
                <a:gd name="T36" fmla="*/ 48 w 390"/>
                <a:gd name="T37" fmla="*/ 339 h 363"/>
                <a:gd name="T38" fmla="*/ 48 w 390"/>
                <a:gd name="T39" fmla="*/ 361 h 363"/>
                <a:gd name="T40" fmla="*/ 48 w 390"/>
                <a:gd name="T41" fmla="*/ 362 h 363"/>
                <a:gd name="T42" fmla="*/ 43 w 390"/>
                <a:gd name="T43" fmla="*/ 363 h 363"/>
                <a:gd name="T44" fmla="*/ 41 w 390"/>
                <a:gd name="T45" fmla="*/ 360 h 363"/>
                <a:gd name="T46" fmla="*/ 40 w 390"/>
                <a:gd name="T47" fmla="*/ 351 h 363"/>
                <a:gd name="T48" fmla="*/ 38 w 390"/>
                <a:gd name="T49" fmla="*/ 338 h 363"/>
                <a:gd name="T50" fmla="*/ 93 w 390"/>
                <a:gd name="T51" fmla="*/ 68 h 363"/>
                <a:gd name="T52" fmla="*/ 224 w 390"/>
                <a:gd name="T53" fmla="*/ 135 h 363"/>
                <a:gd name="T54" fmla="*/ 228 w 390"/>
                <a:gd name="T55" fmla="*/ 134 h 363"/>
                <a:gd name="T56" fmla="*/ 222 w 390"/>
                <a:gd name="T57" fmla="*/ 135 h 363"/>
                <a:gd name="T58" fmla="*/ 224 w 390"/>
                <a:gd name="T59" fmla="*/ 1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0" h="363">
                  <a:moveTo>
                    <a:pt x="93" y="68"/>
                  </a:moveTo>
                  <a:cubicBezTo>
                    <a:pt x="179" y="0"/>
                    <a:pt x="350" y="10"/>
                    <a:pt x="390" y="66"/>
                  </a:cubicBezTo>
                  <a:cubicBezTo>
                    <a:pt x="374" y="123"/>
                    <a:pt x="386" y="276"/>
                    <a:pt x="374" y="357"/>
                  </a:cubicBezTo>
                  <a:cubicBezTo>
                    <a:pt x="374" y="357"/>
                    <a:pt x="374" y="357"/>
                    <a:pt x="374" y="357"/>
                  </a:cubicBezTo>
                  <a:cubicBezTo>
                    <a:pt x="374" y="358"/>
                    <a:pt x="374" y="359"/>
                    <a:pt x="374" y="360"/>
                  </a:cubicBezTo>
                  <a:cubicBezTo>
                    <a:pt x="373" y="360"/>
                    <a:pt x="372" y="362"/>
                    <a:pt x="372" y="363"/>
                  </a:cubicBezTo>
                  <a:cubicBezTo>
                    <a:pt x="371" y="363"/>
                    <a:pt x="368" y="363"/>
                    <a:pt x="367" y="362"/>
                  </a:cubicBezTo>
                  <a:cubicBezTo>
                    <a:pt x="367" y="362"/>
                    <a:pt x="366" y="361"/>
                    <a:pt x="366" y="361"/>
                  </a:cubicBezTo>
                  <a:cubicBezTo>
                    <a:pt x="366" y="354"/>
                    <a:pt x="366" y="340"/>
                    <a:pt x="366" y="339"/>
                  </a:cubicBezTo>
                  <a:cubicBezTo>
                    <a:pt x="367" y="328"/>
                    <a:pt x="370" y="318"/>
                    <a:pt x="371" y="307"/>
                  </a:cubicBezTo>
                  <a:cubicBezTo>
                    <a:pt x="363" y="255"/>
                    <a:pt x="339" y="245"/>
                    <a:pt x="327" y="183"/>
                  </a:cubicBezTo>
                  <a:cubicBezTo>
                    <a:pt x="324" y="179"/>
                    <a:pt x="321" y="175"/>
                    <a:pt x="318" y="171"/>
                  </a:cubicBezTo>
                  <a:cubicBezTo>
                    <a:pt x="315" y="167"/>
                    <a:pt x="311" y="162"/>
                    <a:pt x="307" y="158"/>
                  </a:cubicBezTo>
                  <a:cubicBezTo>
                    <a:pt x="305" y="157"/>
                    <a:pt x="303" y="156"/>
                    <a:pt x="301" y="154"/>
                  </a:cubicBezTo>
                  <a:cubicBezTo>
                    <a:pt x="254" y="137"/>
                    <a:pt x="256" y="150"/>
                    <a:pt x="212" y="168"/>
                  </a:cubicBezTo>
                  <a:cubicBezTo>
                    <a:pt x="195" y="175"/>
                    <a:pt x="148" y="188"/>
                    <a:pt x="129" y="186"/>
                  </a:cubicBezTo>
                  <a:cubicBezTo>
                    <a:pt x="121" y="186"/>
                    <a:pt x="94" y="183"/>
                    <a:pt x="93" y="176"/>
                  </a:cubicBezTo>
                  <a:cubicBezTo>
                    <a:pt x="58" y="230"/>
                    <a:pt x="55" y="269"/>
                    <a:pt x="45" y="315"/>
                  </a:cubicBezTo>
                  <a:cubicBezTo>
                    <a:pt x="46" y="323"/>
                    <a:pt x="48" y="331"/>
                    <a:pt x="48" y="339"/>
                  </a:cubicBezTo>
                  <a:cubicBezTo>
                    <a:pt x="48" y="340"/>
                    <a:pt x="49" y="354"/>
                    <a:pt x="48" y="361"/>
                  </a:cubicBezTo>
                  <a:cubicBezTo>
                    <a:pt x="48" y="361"/>
                    <a:pt x="48" y="362"/>
                    <a:pt x="48" y="362"/>
                  </a:cubicBezTo>
                  <a:cubicBezTo>
                    <a:pt x="47" y="363"/>
                    <a:pt x="43" y="363"/>
                    <a:pt x="43" y="363"/>
                  </a:cubicBezTo>
                  <a:cubicBezTo>
                    <a:pt x="43" y="362"/>
                    <a:pt x="41" y="360"/>
                    <a:pt x="41" y="360"/>
                  </a:cubicBezTo>
                  <a:cubicBezTo>
                    <a:pt x="40" y="356"/>
                    <a:pt x="40" y="354"/>
                    <a:pt x="40" y="351"/>
                  </a:cubicBezTo>
                  <a:cubicBezTo>
                    <a:pt x="39" y="347"/>
                    <a:pt x="39" y="342"/>
                    <a:pt x="38" y="338"/>
                  </a:cubicBezTo>
                  <a:cubicBezTo>
                    <a:pt x="25" y="288"/>
                    <a:pt x="0" y="89"/>
                    <a:pt x="93" y="68"/>
                  </a:cubicBezTo>
                  <a:close/>
                  <a:moveTo>
                    <a:pt x="224" y="135"/>
                  </a:moveTo>
                  <a:cubicBezTo>
                    <a:pt x="225" y="135"/>
                    <a:pt x="227" y="134"/>
                    <a:pt x="228" y="134"/>
                  </a:cubicBezTo>
                  <a:cubicBezTo>
                    <a:pt x="226" y="134"/>
                    <a:pt x="224" y="135"/>
                    <a:pt x="222" y="135"/>
                  </a:cubicBezTo>
                  <a:cubicBezTo>
                    <a:pt x="222" y="135"/>
                    <a:pt x="223" y="135"/>
                    <a:pt x="224" y="13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2"/>
            <p:cNvSpPr>
              <a:spLocks/>
            </p:cNvSpPr>
            <p:nvPr/>
          </p:nvSpPr>
          <p:spPr bwMode="auto">
            <a:xfrm>
              <a:off x="6245225" y="305038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33"/>
            <p:cNvSpPr>
              <a:spLocks/>
            </p:cNvSpPr>
            <p:nvPr/>
          </p:nvSpPr>
          <p:spPr bwMode="auto">
            <a:xfrm>
              <a:off x="6245225" y="305038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34"/>
            <p:cNvSpPr>
              <a:spLocks/>
            </p:cNvSpPr>
            <p:nvPr/>
          </p:nvSpPr>
          <p:spPr bwMode="auto">
            <a:xfrm>
              <a:off x="6110288" y="30456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D0A8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35"/>
            <p:cNvSpPr>
              <a:spLocks/>
            </p:cNvSpPr>
            <p:nvPr/>
          </p:nvSpPr>
          <p:spPr bwMode="auto">
            <a:xfrm>
              <a:off x="6110288" y="30456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36"/>
            <p:cNvSpPr>
              <a:spLocks noEditPoints="1"/>
            </p:cNvSpPr>
            <p:nvPr/>
          </p:nvSpPr>
          <p:spPr bwMode="auto">
            <a:xfrm>
              <a:off x="6219825" y="332978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37"/>
            <p:cNvSpPr>
              <a:spLocks noEditPoints="1"/>
            </p:cNvSpPr>
            <p:nvPr/>
          </p:nvSpPr>
          <p:spPr bwMode="auto">
            <a:xfrm>
              <a:off x="6219825" y="332978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138"/>
            <p:cNvSpPr>
              <a:spLocks noChangeArrowheads="1"/>
            </p:cNvSpPr>
            <p:nvPr/>
          </p:nvSpPr>
          <p:spPr bwMode="auto">
            <a:xfrm>
              <a:off x="6219825" y="3329782"/>
              <a:ext cx="49213" cy="1588"/>
            </a:xfrm>
            <a:prstGeom prst="rect">
              <a:avLst/>
            </a:prstGeom>
            <a:solidFill>
              <a:srgbClr val="2F2F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139"/>
            <p:cNvSpPr>
              <a:spLocks noChangeArrowheads="1"/>
            </p:cNvSpPr>
            <p:nvPr/>
          </p:nvSpPr>
          <p:spPr bwMode="auto">
            <a:xfrm>
              <a:off x="6219825" y="3329782"/>
              <a:ext cx="49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40"/>
            <p:cNvSpPr>
              <a:spLocks/>
            </p:cNvSpPr>
            <p:nvPr/>
          </p:nvSpPr>
          <p:spPr bwMode="auto">
            <a:xfrm>
              <a:off x="3990975" y="257254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41"/>
            <p:cNvSpPr>
              <a:spLocks/>
            </p:cNvSpPr>
            <p:nvPr/>
          </p:nvSpPr>
          <p:spPr bwMode="auto">
            <a:xfrm>
              <a:off x="3990975" y="257254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74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42"/>
            <p:cNvSpPr>
              <a:spLocks/>
            </p:cNvSpPr>
            <p:nvPr/>
          </p:nvSpPr>
          <p:spPr bwMode="auto">
            <a:xfrm>
              <a:off x="4479925" y="2167732"/>
              <a:ext cx="268288" cy="558800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43"/>
            <p:cNvSpPr>
              <a:spLocks/>
            </p:cNvSpPr>
            <p:nvPr/>
          </p:nvSpPr>
          <p:spPr bwMode="auto">
            <a:xfrm>
              <a:off x="4303713" y="2131219"/>
              <a:ext cx="112713" cy="163513"/>
            </a:xfrm>
            <a:custGeom>
              <a:avLst/>
              <a:gdLst>
                <a:gd name="T0" fmla="*/ 19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19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19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4" y="92"/>
                    <a:pt x="50" y="97"/>
                  </a:cubicBezTo>
                  <a:cubicBezTo>
                    <a:pt x="35" y="102"/>
                    <a:pt x="16" y="85"/>
                    <a:pt x="8" y="60"/>
                  </a:cubicBezTo>
                  <a:cubicBezTo>
                    <a:pt x="0" y="34"/>
                    <a:pt x="5" y="10"/>
                    <a:pt x="19" y="5"/>
                  </a:cubicBezTo>
                  <a:close/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44"/>
            <p:cNvSpPr>
              <a:spLocks/>
            </p:cNvSpPr>
            <p:nvPr/>
          </p:nvSpPr>
          <p:spPr bwMode="auto">
            <a:xfrm>
              <a:off x="4811713" y="2131219"/>
              <a:ext cx="111125" cy="163513"/>
            </a:xfrm>
            <a:custGeom>
              <a:avLst/>
              <a:gdLst>
                <a:gd name="T0" fmla="*/ 50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5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45"/>
            <p:cNvSpPr>
              <a:spLocks/>
            </p:cNvSpPr>
            <p:nvPr/>
          </p:nvSpPr>
          <p:spPr bwMode="auto">
            <a:xfrm>
              <a:off x="4556125" y="2702719"/>
              <a:ext cx="115888" cy="112713"/>
            </a:xfrm>
            <a:custGeom>
              <a:avLst/>
              <a:gdLst>
                <a:gd name="T0" fmla="*/ 0 w 72"/>
                <a:gd name="T1" fmla="*/ 39 h 70"/>
                <a:gd name="T2" fmla="*/ 21 w 72"/>
                <a:gd name="T3" fmla="*/ 70 h 70"/>
                <a:gd name="T4" fmla="*/ 52 w 72"/>
                <a:gd name="T5" fmla="*/ 70 h 70"/>
                <a:gd name="T6" fmla="*/ 72 w 72"/>
                <a:gd name="T7" fmla="*/ 39 h 70"/>
                <a:gd name="T8" fmla="*/ 37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31" y="70"/>
                    <a:pt x="42" y="70"/>
                    <a:pt x="52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46"/>
            <p:cNvSpPr>
              <a:spLocks/>
            </p:cNvSpPr>
            <p:nvPr/>
          </p:nvSpPr>
          <p:spPr bwMode="auto">
            <a:xfrm>
              <a:off x="4543425" y="281543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47"/>
            <p:cNvSpPr>
              <a:spLocks/>
            </p:cNvSpPr>
            <p:nvPr/>
          </p:nvSpPr>
          <p:spPr bwMode="auto">
            <a:xfrm>
              <a:off x="4543425" y="281543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48"/>
            <p:cNvSpPr>
              <a:spLocks/>
            </p:cNvSpPr>
            <p:nvPr/>
          </p:nvSpPr>
          <p:spPr bwMode="auto">
            <a:xfrm>
              <a:off x="4468813" y="253603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49"/>
            <p:cNvSpPr>
              <a:spLocks/>
            </p:cNvSpPr>
            <p:nvPr/>
          </p:nvSpPr>
          <p:spPr bwMode="auto">
            <a:xfrm>
              <a:off x="4468813" y="253603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150"/>
            <p:cNvSpPr>
              <a:spLocks/>
            </p:cNvSpPr>
            <p:nvPr/>
          </p:nvSpPr>
          <p:spPr bwMode="auto">
            <a:xfrm>
              <a:off x="4479925" y="2480469"/>
              <a:ext cx="268288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A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51"/>
            <p:cNvSpPr>
              <a:spLocks/>
            </p:cNvSpPr>
            <p:nvPr/>
          </p:nvSpPr>
          <p:spPr bwMode="auto">
            <a:xfrm>
              <a:off x="4202113" y="1783557"/>
              <a:ext cx="823913" cy="758825"/>
            </a:xfrm>
            <a:custGeom>
              <a:avLst/>
              <a:gdLst>
                <a:gd name="T0" fmla="*/ 256 w 513"/>
                <a:gd name="T1" fmla="*/ 0 h 473"/>
                <a:gd name="T2" fmla="*/ 115 w 513"/>
                <a:gd name="T3" fmla="*/ 378 h 473"/>
                <a:gd name="T4" fmla="*/ 256 w 513"/>
                <a:gd name="T5" fmla="*/ 473 h 473"/>
                <a:gd name="T6" fmla="*/ 398 w 513"/>
                <a:gd name="T7" fmla="*/ 378 h 473"/>
                <a:gd name="T8" fmla="*/ 256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6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6" y="473"/>
                  </a:cubicBezTo>
                  <a:cubicBezTo>
                    <a:pt x="298" y="473"/>
                    <a:pt x="379" y="408"/>
                    <a:pt x="398" y="378"/>
                  </a:cubicBezTo>
                  <a:cubicBezTo>
                    <a:pt x="415" y="351"/>
                    <a:pt x="513" y="0"/>
                    <a:pt x="256" y="0"/>
                  </a:cubicBezTo>
                  <a:close/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52"/>
            <p:cNvSpPr>
              <a:spLocks noEditPoints="1"/>
            </p:cNvSpPr>
            <p:nvPr/>
          </p:nvSpPr>
          <p:spPr bwMode="auto">
            <a:xfrm>
              <a:off x="4319588" y="1670844"/>
              <a:ext cx="633413" cy="598488"/>
            </a:xfrm>
            <a:custGeom>
              <a:avLst/>
              <a:gdLst>
                <a:gd name="T0" fmla="*/ 302 w 394"/>
                <a:gd name="T1" fmla="*/ 78 h 373"/>
                <a:gd name="T2" fmla="*/ 0 w 394"/>
                <a:gd name="T3" fmla="*/ 156 h 373"/>
                <a:gd name="T4" fmla="*/ 20 w 394"/>
                <a:gd name="T5" fmla="*/ 367 h 373"/>
                <a:gd name="T6" fmla="*/ 20 w 394"/>
                <a:gd name="T7" fmla="*/ 367 h 373"/>
                <a:gd name="T8" fmla="*/ 21 w 394"/>
                <a:gd name="T9" fmla="*/ 370 h 373"/>
                <a:gd name="T10" fmla="*/ 23 w 394"/>
                <a:gd name="T11" fmla="*/ 373 h 373"/>
                <a:gd name="T12" fmla="*/ 27 w 394"/>
                <a:gd name="T13" fmla="*/ 372 h 373"/>
                <a:gd name="T14" fmla="*/ 28 w 394"/>
                <a:gd name="T15" fmla="*/ 371 h 373"/>
                <a:gd name="T16" fmla="*/ 28 w 394"/>
                <a:gd name="T17" fmla="*/ 349 h 373"/>
                <a:gd name="T18" fmla="*/ 27 w 394"/>
                <a:gd name="T19" fmla="*/ 316 h 373"/>
                <a:gd name="T20" fmla="*/ 56 w 394"/>
                <a:gd name="T21" fmla="*/ 212 h 373"/>
                <a:gd name="T22" fmla="*/ 76 w 394"/>
                <a:gd name="T23" fmla="*/ 188 h 373"/>
                <a:gd name="T24" fmla="*/ 183 w 394"/>
                <a:gd name="T25" fmla="*/ 218 h 373"/>
                <a:gd name="T26" fmla="*/ 243 w 394"/>
                <a:gd name="T27" fmla="*/ 225 h 373"/>
                <a:gd name="T28" fmla="*/ 301 w 394"/>
                <a:gd name="T29" fmla="*/ 186 h 373"/>
                <a:gd name="T30" fmla="*/ 350 w 394"/>
                <a:gd name="T31" fmla="*/ 325 h 373"/>
                <a:gd name="T32" fmla="*/ 346 w 394"/>
                <a:gd name="T33" fmla="*/ 349 h 373"/>
                <a:gd name="T34" fmla="*/ 346 w 394"/>
                <a:gd name="T35" fmla="*/ 371 h 373"/>
                <a:gd name="T36" fmla="*/ 347 w 394"/>
                <a:gd name="T37" fmla="*/ 372 h 373"/>
                <a:gd name="T38" fmla="*/ 351 w 394"/>
                <a:gd name="T39" fmla="*/ 373 h 373"/>
                <a:gd name="T40" fmla="*/ 353 w 394"/>
                <a:gd name="T41" fmla="*/ 370 h 373"/>
                <a:gd name="T42" fmla="*/ 354 w 394"/>
                <a:gd name="T43" fmla="*/ 361 h 373"/>
                <a:gd name="T44" fmla="*/ 356 w 394"/>
                <a:gd name="T45" fmla="*/ 348 h 373"/>
                <a:gd name="T46" fmla="*/ 302 w 394"/>
                <a:gd name="T47" fmla="*/ 78 h 373"/>
                <a:gd name="T48" fmla="*/ 170 w 394"/>
                <a:gd name="T49" fmla="*/ 145 h 373"/>
                <a:gd name="T50" fmla="*/ 166 w 394"/>
                <a:gd name="T51" fmla="*/ 144 h 373"/>
                <a:gd name="T52" fmla="*/ 173 w 394"/>
                <a:gd name="T53" fmla="*/ 145 h 373"/>
                <a:gd name="T54" fmla="*/ 170 w 394"/>
                <a:gd name="T55" fmla="*/ 14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4" h="373">
                  <a:moveTo>
                    <a:pt x="302" y="78"/>
                  </a:moveTo>
                  <a:cubicBezTo>
                    <a:pt x="213" y="0"/>
                    <a:pt x="40" y="100"/>
                    <a:pt x="0" y="156"/>
                  </a:cubicBezTo>
                  <a:cubicBezTo>
                    <a:pt x="16" y="213"/>
                    <a:pt x="8" y="286"/>
                    <a:pt x="20" y="367"/>
                  </a:cubicBezTo>
                  <a:cubicBezTo>
                    <a:pt x="20" y="367"/>
                    <a:pt x="20" y="367"/>
                    <a:pt x="20" y="367"/>
                  </a:cubicBezTo>
                  <a:cubicBezTo>
                    <a:pt x="20" y="368"/>
                    <a:pt x="21" y="369"/>
                    <a:pt x="21" y="370"/>
                  </a:cubicBezTo>
                  <a:cubicBezTo>
                    <a:pt x="21" y="370"/>
                    <a:pt x="22" y="372"/>
                    <a:pt x="23" y="373"/>
                  </a:cubicBezTo>
                  <a:cubicBezTo>
                    <a:pt x="23" y="373"/>
                    <a:pt x="26" y="373"/>
                    <a:pt x="27" y="372"/>
                  </a:cubicBezTo>
                  <a:cubicBezTo>
                    <a:pt x="28" y="372"/>
                    <a:pt x="28" y="371"/>
                    <a:pt x="28" y="371"/>
                  </a:cubicBezTo>
                  <a:cubicBezTo>
                    <a:pt x="28" y="364"/>
                    <a:pt x="28" y="350"/>
                    <a:pt x="28" y="349"/>
                  </a:cubicBezTo>
                  <a:cubicBezTo>
                    <a:pt x="27" y="338"/>
                    <a:pt x="29" y="327"/>
                    <a:pt x="27" y="316"/>
                  </a:cubicBezTo>
                  <a:cubicBezTo>
                    <a:pt x="35" y="265"/>
                    <a:pt x="28" y="263"/>
                    <a:pt x="56" y="212"/>
                  </a:cubicBezTo>
                  <a:cubicBezTo>
                    <a:pt x="59" y="207"/>
                    <a:pt x="74" y="190"/>
                    <a:pt x="76" y="188"/>
                  </a:cubicBezTo>
                  <a:cubicBezTo>
                    <a:pt x="122" y="171"/>
                    <a:pt x="139" y="200"/>
                    <a:pt x="183" y="218"/>
                  </a:cubicBezTo>
                  <a:cubicBezTo>
                    <a:pt x="199" y="225"/>
                    <a:pt x="225" y="225"/>
                    <a:pt x="243" y="225"/>
                  </a:cubicBezTo>
                  <a:cubicBezTo>
                    <a:pt x="272" y="225"/>
                    <a:pt x="300" y="193"/>
                    <a:pt x="301" y="186"/>
                  </a:cubicBezTo>
                  <a:cubicBezTo>
                    <a:pt x="336" y="240"/>
                    <a:pt x="340" y="279"/>
                    <a:pt x="350" y="325"/>
                  </a:cubicBezTo>
                  <a:cubicBezTo>
                    <a:pt x="348" y="333"/>
                    <a:pt x="347" y="341"/>
                    <a:pt x="346" y="349"/>
                  </a:cubicBezTo>
                  <a:cubicBezTo>
                    <a:pt x="346" y="350"/>
                    <a:pt x="346" y="364"/>
                    <a:pt x="346" y="371"/>
                  </a:cubicBezTo>
                  <a:cubicBezTo>
                    <a:pt x="346" y="371"/>
                    <a:pt x="346" y="372"/>
                    <a:pt x="347" y="372"/>
                  </a:cubicBezTo>
                  <a:cubicBezTo>
                    <a:pt x="348" y="373"/>
                    <a:pt x="351" y="373"/>
                    <a:pt x="351" y="373"/>
                  </a:cubicBezTo>
                  <a:cubicBezTo>
                    <a:pt x="352" y="372"/>
                    <a:pt x="353" y="370"/>
                    <a:pt x="353" y="370"/>
                  </a:cubicBezTo>
                  <a:cubicBezTo>
                    <a:pt x="354" y="366"/>
                    <a:pt x="354" y="364"/>
                    <a:pt x="354" y="361"/>
                  </a:cubicBezTo>
                  <a:cubicBezTo>
                    <a:pt x="355" y="357"/>
                    <a:pt x="356" y="352"/>
                    <a:pt x="356" y="348"/>
                  </a:cubicBezTo>
                  <a:cubicBezTo>
                    <a:pt x="369" y="298"/>
                    <a:pt x="394" y="99"/>
                    <a:pt x="302" y="78"/>
                  </a:cubicBezTo>
                  <a:close/>
                  <a:moveTo>
                    <a:pt x="170" y="145"/>
                  </a:moveTo>
                  <a:cubicBezTo>
                    <a:pt x="169" y="145"/>
                    <a:pt x="168" y="144"/>
                    <a:pt x="166" y="144"/>
                  </a:cubicBezTo>
                  <a:cubicBezTo>
                    <a:pt x="168" y="144"/>
                    <a:pt x="170" y="145"/>
                    <a:pt x="173" y="145"/>
                  </a:cubicBezTo>
                  <a:cubicBezTo>
                    <a:pt x="172" y="145"/>
                    <a:pt x="171" y="145"/>
                    <a:pt x="170" y="145"/>
                  </a:cubicBezTo>
                  <a:close/>
                </a:path>
              </a:pathLst>
            </a:custGeom>
            <a:solidFill>
              <a:srgbClr val="BF9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53"/>
            <p:cNvSpPr>
              <a:spLocks noEditPoints="1"/>
            </p:cNvSpPr>
            <p:nvPr/>
          </p:nvSpPr>
          <p:spPr bwMode="auto">
            <a:xfrm>
              <a:off x="3124200" y="1610519"/>
              <a:ext cx="647700" cy="598488"/>
            </a:xfrm>
            <a:custGeom>
              <a:avLst/>
              <a:gdLst>
                <a:gd name="T0" fmla="*/ 95 w 404"/>
                <a:gd name="T1" fmla="*/ 78 h 373"/>
                <a:gd name="T2" fmla="*/ 404 w 404"/>
                <a:gd name="T3" fmla="*/ 156 h 373"/>
                <a:gd name="T4" fmla="*/ 383 w 404"/>
                <a:gd name="T5" fmla="*/ 367 h 373"/>
                <a:gd name="T6" fmla="*/ 383 w 404"/>
                <a:gd name="T7" fmla="*/ 367 h 373"/>
                <a:gd name="T8" fmla="*/ 382 w 404"/>
                <a:gd name="T9" fmla="*/ 369 h 373"/>
                <a:gd name="T10" fmla="*/ 380 w 404"/>
                <a:gd name="T11" fmla="*/ 372 h 373"/>
                <a:gd name="T12" fmla="*/ 376 w 404"/>
                <a:gd name="T13" fmla="*/ 372 h 373"/>
                <a:gd name="T14" fmla="*/ 375 w 404"/>
                <a:gd name="T15" fmla="*/ 371 h 373"/>
                <a:gd name="T16" fmla="*/ 375 w 404"/>
                <a:gd name="T17" fmla="*/ 349 h 373"/>
                <a:gd name="T18" fmla="*/ 376 w 404"/>
                <a:gd name="T19" fmla="*/ 316 h 373"/>
                <a:gd name="T20" fmla="*/ 346 w 404"/>
                <a:gd name="T21" fmla="*/ 211 h 373"/>
                <a:gd name="T22" fmla="*/ 326 w 404"/>
                <a:gd name="T23" fmla="*/ 188 h 373"/>
                <a:gd name="T24" fmla="*/ 217 w 404"/>
                <a:gd name="T25" fmla="*/ 217 h 373"/>
                <a:gd name="T26" fmla="*/ 154 w 404"/>
                <a:gd name="T27" fmla="*/ 225 h 373"/>
                <a:gd name="T28" fmla="*/ 95 w 404"/>
                <a:gd name="T29" fmla="*/ 186 h 373"/>
                <a:gd name="T30" fmla="*/ 45 w 404"/>
                <a:gd name="T31" fmla="*/ 325 h 373"/>
                <a:gd name="T32" fmla="*/ 49 w 404"/>
                <a:gd name="T33" fmla="*/ 349 h 373"/>
                <a:gd name="T34" fmla="*/ 49 w 404"/>
                <a:gd name="T35" fmla="*/ 371 h 373"/>
                <a:gd name="T36" fmla="*/ 48 w 404"/>
                <a:gd name="T37" fmla="*/ 372 h 373"/>
                <a:gd name="T38" fmla="*/ 44 w 404"/>
                <a:gd name="T39" fmla="*/ 372 h 373"/>
                <a:gd name="T40" fmla="*/ 42 w 404"/>
                <a:gd name="T41" fmla="*/ 369 h 373"/>
                <a:gd name="T42" fmla="*/ 41 w 404"/>
                <a:gd name="T43" fmla="*/ 361 h 373"/>
                <a:gd name="T44" fmla="*/ 39 w 404"/>
                <a:gd name="T45" fmla="*/ 348 h 373"/>
                <a:gd name="T46" fmla="*/ 95 w 404"/>
                <a:gd name="T47" fmla="*/ 78 h 373"/>
                <a:gd name="T48" fmla="*/ 229 w 404"/>
                <a:gd name="T49" fmla="*/ 145 h 373"/>
                <a:gd name="T50" fmla="*/ 233 w 404"/>
                <a:gd name="T51" fmla="*/ 143 h 373"/>
                <a:gd name="T52" fmla="*/ 227 w 404"/>
                <a:gd name="T53" fmla="*/ 145 h 373"/>
                <a:gd name="T54" fmla="*/ 229 w 404"/>
                <a:gd name="T55" fmla="*/ 14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4" h="373">
                  <a:moveTo>
                    <a:pt x="95" y="78"/>
                  </a:moveTo>
                  <a:cubicBezTo>
                    <a:pt x="185" y="0"/>
                    <a:pt x="362" y="99"/>
                    <a:pt x="404" y="156"/>
                  </a:cubicBezTo>
                  <a:cubicBezTo>
                    <a:pt x="387" y="213"/>
                    <a:pt x="395" y="286"/>
                    <a:pt x="383" y="367"/>
                  </a:cubicBezTo>
                  <a:cubicBezTo>
                    <a:pt x="383" y="367"/>
                    <a:pt x="383" y="367"/>
                    <a:pt x="383" y="367"/>
                  </a:cubicBezTo>
                  <a:cubicBezTo>
                    <a:pt x="383" y="368"/>
                    <a:pt x="383" y="368"/>
                    <a:pt x="382" y="369"/>
                  </a:cubicBezTo>
                  <a:cubicBezTo>
                    <a:pt x="382" y="370"/>
                    <a:pt x="381" y="372"/>
                    <a:pt x="380" y="372"/>
                  </a:cubicBezTo>
                  <a:cubicBezTo>
                    <a:pt x="380" y="373"/>
                    <a:pt x="377" y="372"/>
                    <a:pt x="376" y="372"/>
                  </a:cubicBezTo>
                  <a:cubicBezTo>
                    <a:pt x="375" y="372"/>
                    <a:pt x="375" y="371"/>
                    <a:pt x="375" y="371"/>
                  </a:cubicBezTo>
                  <a:cubicBezTo>
                    <a:pt x="375" y="364"/>
                    <a:pt x="375" y="349"/>
                    <a:pt x="375" y="349"/>
                  </a:cubicBezTo>
                  <a:cubicBezTo>
                    <a:pt x="376" y="338"/>
                    <a:pt x="374" y="327"/>
                    <a:pt x="376" y="316"/>
                  </a:cubicBezTo>
                  <a:cubicBezTo>
                    <a:pt x="368" y="265"/>
                    <a:pt x="375" y="263"/>
                    <a:pt x="346" y="211"/>
                  </a:cubicBezTo>
                  <a:cubicBezTo>
                    <a:pt x="343" y="207"/>
                    <a:pt x="328" y="190"/>
                    <a:pt x="326" y="188"/>
                  </a:cubicBezTo>
                  <a:cubicBezTo>
                    <a:pt x="278" y="171"/>
                    <a:pt x="262" y="200"/>
                    <a:pt x="217" y="217"/>
                  </a:cubicBezTo>
                  <a:cubicBezTo>
                    <a:pt x="199" y="224"/>
                    <a:pt x="173" y="225"/>
                    <a:pt x="154" y="225"/>
                  </a:cubicBezTo>
                  <a:cubicBezTo>
                    <a:pt x="125" y="225"/>
                    <a:pt x="96" y="193"/>
                    <a:pt x="95" y="186"/>
                  </a:cubicBezTo>
                  <a:cubicBezTo>
                    <a:pt x="59" y="240"/>
                    <a:pt x="56" y="279"/>
                    <a:pt x="45" y="325"/>
                  </a:cubicBezTo>
                  <a:cubicBezTo>
                    <a:pt x="47" y="333"/>
                    <a:pt x="48" y="341"/>
                    <a:pt x="49" y="349"/>
                  </a:cubicBezTo>
                  <a:cubicBezTo>
                    <a:pt x="49" y="349"/>
                    <a:pt x="50" y="364"/>
                    <a:pt x="49" y="371"/>
                  </a:cubicBezTo>
                  <a:cubicBezTo>
                    <a:pt x="49" y="371"/>
                    <a:pt x="49" y="372"/>
                    <a:pt x="48" y="372"/>
                  </a:cubicBezTo>
                  <a:cubicBezTo>
                    <a:pt x="47" y="372"/>
                    <a:pt x="44" y="373"/>
                    <a:pt x="44" y="372"/>
                  </a:cubicBezTo>
                  <a:cubicBezTo>
                    <a:pt x="43" y="372"/>
                    <a:pt x="42" y="370"/>
                    <a:pt x="42" y="369"/>
                  </a:cubicBezTo>
                  <a:cubicBezTo>
                    <a:pt x="41" y="366"/>
                    <a:pt x="41" y="364"/>
                    <a:pt x="41" y="361"/>
                  </a:cubicBezTo>
                  <a:cubicBezTo>
                    <a:pt x="40" y="356"/>
                    <a:pt x="39" y="352"/>
                    <a:pt x="39" y="348"/>
                  </a:cubicBezTo>
                  <a:cubicBezTo>
                    <a:pt x="25" y="298"/>
                    <a:pt x="0" y="99"/>
                    <a:pt x="95" y="78"/>
                  </a:cubicBezTo>
                  <a:close/>
                  <a:moveTo>
                    <a:pt x="229" y="145"/>
                  </a:moveTo>
                  <a:cubicBezTo>
                    <a:pt x="230" y="144"/>
                    <a:pt x="232" y="144"/>
                    <a:pt x="233" y="143"/>
                  </a:cubicBezTo>
                  <a:cubicBezTo>
                    <a:pt x="231" y="144"/>
                    <a:pt x="229" y="145"/>
                    <a:pt x="227" y="145"/>
                  </a:cubicBezTo>
                  <a:cubicBezTo>
                    <a:pt x="228" y="145"/>
                    <a:pt x="228" y="145"/>
                    <a:pt x="229" y="145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54"/>
            <p:cNvSpPr>
              <a:spLocks/>
            </p:cNvSpPr>
            <p:nvPr/>
          </p:nvSpPr>
          <p:spPr bwMode="auto">
            <a:xfrm>
              <a:off x="4614863" y="253603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55"/>
            <p:cNvSpPr>
              <a:spLocks/>
            </p:cNvSpPr>
            <p:nvPr/>
          </p:nvSpPr>
          <p:spPr bwMode="auto">
            <a:xfrm>
              <a:off x="4614863" y="253603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56"/>
            <p:cNvSpPr>
              <a:spLocks/>
            </p:cNvSpPr>
            <p:nvPr/>
          </p:nvSpPr>
          <p:spPr bwMode="auto">
            <a:xfrm>
              <a:off x="4479925" y="253126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169 w 169"/>
                <a:gd name="T11" fmla="*/ 3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E9CE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57"/>
            <p:cNvSpPr>
              <a:spLocks/>
            </p:cNvSpPr>
            <p:nvPr/>
          </p:nvSpPr>
          <p:spPr bwMode="auto">
            <a:xfrm>
              <a:off x="4479925" y="253126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169 w 169"/>
                <a:gd name="T11" fmla="*/ 3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58"/>
            <p:cNvSpPr>
              <a:spLocks noEditPoints="1"/>
            </p:cNvSpPr>
            <p:nvPr/>
          </p:nvSpPr>
          <p:spPr bwMode="auto">
            <a:xfrm>
              <a:off x="4589463" y="281543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6882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59"/>
            <p:cNvSpPr>
              <a:spLocks noEditPoints="1"/>
            </p:cNvSpPr>
            <p:nvPr/>
          </p:nvSpPr>
          <p:spPr bwMode="auto">
            <a:xfrm>
              <a:off x="4589463" y="281543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160"/>
            <p:cNvSpPr>
              <a:spLocks noChangeArrowheads="1"/>
            </p:cNvSpPr>
            <p:nvPr/>
          </p:nvSpPr>
          <p:spPr bwMode="auto">
            <a:xfrm>
              <a:off x="4589463" y="2815432"/>
              <a:ext cx="49213" cy="1588"/>
            </a:xfrm>
            <a:prstGeom prst="rect">
              <a:avLst/>
            </a:prstGeom>
            <a:solidFill>
              <a:srgbClr val="2F2F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161"/>
            <p:cNvSpPr>
              <a:spLocks noChangeArrowheads="1"/>
            </p:cNvSpPr>
            <p:nvPr/>
          </p:nvSpPr>
          <p:spPr bwMode="auto">
            <a:xfrm>
              <a:off x="4589463" y="2815432"/>
              <a:ext cx="49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62"/>
            <p:cNvSpPr>
              <a:spLocks/>
            </p:cNvSpPr>
            <p:nvPr/>
          </p:nvSpPr>
          <p:spPr bwMode="auto">
            <a:xfrm>
              <a:off x="5054600" y="2539207"/>
              <a:ext cx="796925" cy="1042988"/>
            </a:xfrm>
            <a:custGeom>
              <a:avLst/>
              <a:gdLst>
                <a:gd name="T0" fmla="*/ 179 w 496"/>
                <a:gd name="T1" fmla="*/ 59 h 650"/>
                <a:gd name="T2" fmla="*/ 401 w 496"/>
                <a:gd name="T3" fmla="*/ 112 h 650"/>
                <a:gd name="T4" fmla="*/ 463 w 496"/>
                <a:gd name="T5" fmla="*/ 303 h 650"/>
                <a:gd name="T6" fmla="*/ 442 w 496"/>
                <a:gd name="T7" fmla="*/ 442 h 650"/>
                <a:gd name="T8" fmla="*/ 440 w 496"/>
                <a:gd name="T9" fmla="*/ 495 h 650"/>
                <a:gd name="T10" fmla="*/ 237 w 496"/>
                <a:gd name="T11" fmla="*/ 649 h 650"/>
                <a:gd name="T12" fmla="*/ 54 w 496"/>
                <a:gd name="T13" fmla="*/ 499 h 650"/>
                <a:gd name="T14" fmla="*/ 58 w 496"/>
                <a:gd name="T15" fmla="*/ 446 h 650"/>
                <a:gd name="T16" fmla="*/ 38 w 496"/>
                <a:gd name="T17" fmla="*/ 295 h 650"/>
                <a:gd name="T18" fmla="*/ 179 w 496"/>
                <a:gd name="T19" fmla="*/ 59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6" h="650">
                  <a:moveTo>
                    <a:pt x="179" y="59"/>
                  </a:moveTo>
                  <a:cubicBezTo>
                    <a:pt x="197" y="27"/>
                    <a:pt x="342" y="0"/>
                    <a:pt x="401" y="112"/>
                  </a:cubicBezTo>
                  <a:cubicBezTo>
                    <a:pt x="460" y="224"/>
                    <a:pt x="430" y="263"/>
                    <a:pt x="463" y="303"/>
                  </a:cubicBezTo>
                  <a:cubicBezTo>
                    <a:pt x="496" y="343"/>
                    <a:pt x="465" y="434"/>
                    <a:pt x="442" y="442"/>
                  </a:cubicBezTo>
                  <a:cubicBezTo>
                    <a:pt x="420" y="450"/>
                    <a:pt x="429" y="481"/>
                    <a:pt x="440" y="495"/>
                  </a:cubicBezTo>
                  <a:cubicBezTo>
                    <a:pt x="487" y="552"/>
                    <a:pt x="419" y="650"/>
                    <a:pt x="237" y="649"/>
                  </a:cubicBezTo>
                  <a:cubicBezTo>
                    <a:pt x="42" y="647"/>
                    <a:pt x="4" y="534"/>
                    <a:pt x="54" y="499"/>
                  </a:cubicBezTo>
                  <a:cubicBezTo>
                    <a:pt x="70" y="488"/>
                    <a:pt x="76" y="466"/>
                    <a:pt x="58" y="446"/>
                  </a:cubicBezTo>
                  <a:cubicBezTo>
                    <a:pt x="41" y="427"/>
                    <a:pt x="0" y="354"/>
                    <a:pt x="38" y="295"/>
                  </a:cubicBezTo>
                  <a:cubicBezTo>
                    <a:pt x="77" y="235"/>
                    <a:pt x="43" y="59"/>
                    <a:pt x="179" y="59"/>
                  </a:cubicBezTo>
                </a:path>
              </a:pathLst>
            </a:custGeom>
            <a:solidFill>
              <a:srgbClr val="806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63"/>
            <p:cNvSpPr>
              <a:spLocks/>
            </p:cNvSpPr>
            <p:nvPr/>
          </p:nvSpPr>
          <p:spPr bwMode="auto">
            <a:xfrm>
              <a:off x="4859338" y="3375819"/>
              <a:ext cx="1182688" cy="468313"/>
            </a:xfrm>
            <a:custGeom>
              <a:avLst/>
              <a:gdLst>
                <a:gd name="T0" fmla="*/ 438 w 737"/>
                <a:gd name="T1" fmla="*/ 0 h 292"/>
                <a:gd name="T2" fmla="*/ 295 w 737"/>
                <a:gd name="T3" fmla="*/ 7 h 292"/>
                <a:gd name="T4" fmla="*/ 79 w 737"/>
                <a:gd name="T5" fmla="*/ 115 h 292"/>
                <a:gd name="T6" fmla="*/ 0 w 737"/>
                <a:gd name="T7" fmla="*/ 292 h 292"/>
                <a:gd name="T8" fmla="*/ 737 w 737"/>
                <a:gd name="T9" fmla="*/ 292 h 292"/>
                <a:gd name="T10" fmla="*/ 658 w 737"/>
                <a:gd name="T11" fmla="*/ 115 h 292"/>
                <a:gd name="T12" fmla="*/ 438 w 737"/>
                <a:gd name="T1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7" h="292">
                  <a:moveTo>
                    <a:pt x="438" y="0"/>
                  </a:moveTo>
                  <a:cubicBezTo>
                    <a:pt x="437" y="3"/>
                    <a:pt x="296" y="5"/>
                    <a:pt x="295" y="7"/>
                  </a:cubicBezTo>
                  <a:cubicBezTo>
                    <a:pt x="250" y="70"/>
                    <a:pt x="155" y="98"/>
                    <a:pt x="79" y="115"/>
                  </a:cubicBezTo>
                  <a:cubicBezTo>
                    <a:pt x="3" y="132"/>
                    <a:pt x="0" y="228"/>
                    <a:pt x="0" y="292"/>
                  </a:cubicBezTo>
                  <a:cubicBezTo>
                    <a:pt x="737" y="292"/>
                    <a:pt x="737" y="292"/>
                    <a:pt x="737" y="292"/>
                  </a:cubicBezTo>
                  <a:cubicBezTo>
                    <a:pt x="737" y="228"/>
                    <a:pt x="736" y="132"/>
                    <a:pt x="658" y="115"/>
                  </a:cubicBezTo>
                  <a:cubicBezTo>
                    <a:pt x="581" y="97"/>
                    <a:pt x="480" y="66"/>
                    <a:pt x="438" y="0"/>
                  </a:cubicBezTo>
                </a:path>
              </a:pathLst>
            </a:custGeom>
            <a:solidFill>
              <a:srgbClr val="26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64"/>
            <p:cNvSpPr>
              <a:spLocks/>
            </p:cNvSpPr>
            <p:nvPr/>
          </p:nvSpPr>
          <p:spPr bwMode="auto">
            <a:xfrm>
              <a:off x="5332413" y="3002757"/>
              <a:ext cx="236538" cy="571500"/>
            </a:xfrm>
            <a:custGeom>
              <a:avLst/>
              <a:gdLst>
                <a:gd name="T0" fmla="*/ 0 w 147"/>
                <a:gd name="T1" fmla="*/ 98 h 356"/>
                <a:gd name="T2" fmla="*/ 0 w 147"/>
                <a:gd name="T3" fmla="*/ 219 h 356"/>
                <a:gd name="T4" fmla="*/ 0 w 147"/>
                <a:gd name="T5" fmla="*/ 278 h 356"/>
                <a:gd name="T6" fmla="*/ 147 w 147"/>
                <a:gd name="T7" fmla="*/ 278 h 356"/>
                <a:gd name="T8" fmla="*/ 147 w 147"/>
                <a:gd name="T9" fmla="*/ 219 h 356"/>
                <a:gd name="T10" fmla="*/ 147 w 147"/>
                <a:gd name="T11" fmla="*/ 98 h 356"/>
                <a:gd name="T12" fmla="*/ 0 w 147"/>
                <a:gd name="T13" fmla="*/ 9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56">
                  <a:moveTo>
                    <a:pt x="0" y="98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37" y="354"/>
                    <a:pt x="103" y="356"/>
                    <a:pt x="147" y="278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0"/>
                    <a:pt x="0" y="0"/>
                    <a:pt x="0" y="98"/>
                  </a:cubicBezTo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65"/>
            <p:cNvSpPr>
              <a:spLocks/>
            </p:cNvSpPr>
            <p:nvPr/>
          </p:nvSpPr>
          <p:spPr bwMode="auto">
            <a:xfrm>
              <a:off x="5670550" y="3012282"/>
              <a:ext cx="120650" cy="179388"/>
            </a:xfrm>
            <a:custGeom>
              <a:avLst/>
              <a:gdLst>
                <a:gd name="T0" fmla="*/ 57 w 75"/>
                <a:gd name="T1" fmla="*/ 7 h 111"/>
                <a:gd name="T2" fmla="*/ 11 w 75"/>
                <a:gd name="T3" fmla="*/ 43 h 111"/>
                <a:gd name="T4" fmla="*/ 18 w 75"/>
                <a:gd name="T5" fmla="*/ 104 h 111"/>
                <a:gd name="T6" fmla="*/ 64 w 75"/>
                <a:gd name="T7" fmla="*/ 68 h 111"/>
                <a:gd name="T8" fmla="*/ 57 w 75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11">
                  <a:moveTo>
                    <a:pt x="57" y="7"/>
                  </a:moveTo>
                  <a:cubicBezTo>
                    <a:pt x="43" y="0"/>
                    <a:pt x="22" y="17"/>
                    <a:pt x="11" y="43"/>
                  </a:cubicBezTo>
                  <a:cubicBezTo>
                    <a:pt x="0" y="70"/>
                    <a:pt x="3" y="97"/>
                    <a:pt x="18" y="104"/>
                  </a:cubicBezTo>
                  <a:cubicBezTo>
                    <a:pt x="33" y="111"/>
                    <a:pt x="53" y="94"/>
                    <a:pt x="64" y="68"/>
                  </a:cubicBezTo>
                  <a:cubicBezTo>
                    <a:pt x="75" y="41"/>
                    <a:pt x="72" y="14"/>
                    <a:pt x="57" y="7"/>
                  </a:cubicBezTo>
                  <a:close/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66"/>
            <p:cNvSpPr>
              <a:spLocks/>
            </p:cNvSpPr>
            <p:nvPr/>
          </p:nvSpPr>
          <p:spPr bwMode="auto">
            <a:xfrm>
              <a:off x="5110163" y="3012282"/>
              <a:ext cx="120650" cy="179388"/>
            </a:xfrm>
            <a:custGeom>
              <a:avLst/>
              <a:gdLst>
                <a:gd name="T0" fmla="*/ 18 w 76"/>
                <a:gd name="T1" fmla="*/ 7 h 111"/>
                <a:gd name="T2" fmla="*/ 65 w 76"/>
                <a:gd name="T3" fmla="*/ 43 h 111"/>
                <a:gd name="T4" fmla="*/ 58 w 76"/>
                <a:gd name="T5" fmla="*/ 104 h 111"/>
                <a:gd name="T6" fmla="*/ 11 w 76"/>
                <a:gd name="T7" fmla="*/ 68 h 111"/>
                <a:gd name="T8" fmla="*/ 18 w 76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11">
                  <a:moveTo>
                    <a:pt x="18" y="7"/>
                  </a:moveTo>
                  <a:cubicBezTo>
                    <a:pt x="33" y="0"/>
                    <a:pt x="54" y="17"/>
                    <a:pt x="65" y="43"/>
                  </a:cubicBezTo>
                  <a:cubicBezTo>
                    <a:pt x="76" y="70"/>
                    <a:pt x="72" y="97"/>
                    <a:pt x="58" y="104"/>
                  </a:cubicBezTo>
                  <a:cubicBezTo>
                    <a:pt x="43" y="111"/>
                    <a:pt x="22" y="94"/>
                    <a:pt x="11" y="68"/>
                  </a:cubicBezTo>
                  <a:cubicBezTo>
                    <a:pt x="0" y="41"/>
                    <a:pt x="3" y="14"/>
                    <a:pt x="18" y="7"/>
                  </a:cubicBezTo>
                  <a:close/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67"/>
            <p:cNvSpPr>
              <a:spLocks/>
            </p:cNvSpPr>
            <p:nvPr/>
          </p:nvSpPr>
          <p:spPr bwMode="auto">
            <a:xfrm>
              <a:off x="5332413" y="3304382"/>
              <a:ext cx="236538" cy="82550"/>
            </a:xfrm>
            <a:custGeom>
              <a:avLst/>
              <a:gdLst>
                <a:gd name="T0" fmla="*/ 147 w 147"/>
                <a:gd name="T1" fmla="*/ 0 h 51"/>
                <a:gd name="T2" fmla="*/ 0 w 147"/>
                <a:gd name="T3" fmla="*/ 0 h 51"/>
                <a:gd name="T4" fmla="*/ 0 w 147"/>
                <a:gd name="T5" fmla="*/ 5 h 51"/>
                <a:gd name="T6" fmla="*/ 73 w 147"/>
                <a:gd name="T7" fmla="*/ 51 h 51"/>
                <a:gd name="T8" fmla="*/ 147 w 147"/>
                <a:gd name="T9" fmla="*/ 4 h 51"/>
                <a:gd name="T10" fmla="*/ 147 w 147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51">
                  <a:moveTo>
                    <a:pt x="14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46" y="51"/>
                    <a:pt x="73" y="51"/>
                  </a:cubicBezTo>
                  <a:cubicBezTo>
                    <a:pt x="100" y="51"/>
                    <a:pt x="147" y="4"/>
                    <a:pt x="147" y="4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C4A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8"/>
            <p:cNvSpPr>
              <a:spLocks/>
            </p:cNvSpPr>
            <p:nvPr/>
          </p:nvSpPr>
          <p:spPr bwMode="auto">
            <a:xfrm>
              <a:off x="5126038" y="2639219"/>
              <a:ext cx="650875" cy="722313"/>
            </a:xfrm>
            <a:custGeom>
              <a:avLst/>
              <a:gdLst>
                <a:gd name="T0" fmla="*/ 203 w 406"/>
                <a:gd name="T1" fmla="*/ 450 h 450"/>
                <a:gd name="T2" fmla="*/ 30 w 406"/>
                <a:gd name="T3" fmla="*/ 266 h 450"/>
                <a:gd name="T4" fmla="*/ 203 w 406"/>
                <a:gd name="T5" fmla="*/ 0 h 450"/>
                <a:gd name="T6" fmla="*/ 375 w 406"/>
                <a:gd name="T7" fmla="*/ 266 h 450"/>
                <a:gd name="T8" fmla="*/ 203 w 406"/>
                <a:gd name="T9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6" h="450">
                  <a:moveTo>
                    <a:pt x="203" y="450"/>
                  </a:moveTo>
                  <a:cubicBezTo>
                    <a:pt x="157" y="450"/>
                    <a:pt x="60" y="374"/>
                    <a:pt x="30" y="266"/>
                  </a:cubicBezTo>
                  <a:cubicBezTo>
                    <a:pt x="0" y="157"/>
                    <a:pt x="57" y="0"/>
                    <a:pt x="203" y="0"/>
                  </a:cubicBezTo>
                  <a:cubicBezTo>
                    <a:pt x="349" y="0"/>
                    <a:pt x="406" y="157"/>
                    <a:pt x="375" y="266"/>
                  </a:cubicBezTo>
                  <a:cubicBezTo>
                    <a:pt x="346" y="374"/>
                    <a:pt x="249" y="450"/>
                    <a:pt x="203" y="450"/>
                  </a:cubicBezTo>
                  <a:close/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9"/>
            <p:cNvSpPr>
              <a:spLocks/>
            </p:cNvSpPr>
            <p:nvPr/>
          </p:nvSpPr>
          <p:spPr bwMode="auto">
            <a:xfrm>
              <a:off x="5122863" y="2618582"/>
              <a:ext cx="688975" cy="496888"/>
            </a:xfrm>
            <a:custGeom>
              <a:avLst/>
              <a:gdLst>
                <a:gd name="T0" fmla="*/ 170 w 430"/>
                <a:gd name="T1" fmla="*/ 148 h 310"/>
                <a:gd name="T2" fmla="*/ 73 w 430"/>
                <a:gd name="T3" fmla="*/ 226 h 310"/>
                <a:gd name="T4" fmla="*/ 43 w 430"/>
                <a:gd name="T5" fmla="*/ 301 h 310"/>
                <a:gd name="T6" fmla="*/ 18 w 430"/>
                <a:gd name="T7" fmla="*/ 145 h 310"/>
                <a:gd name="T8" fmla="*/ 173 w 430"/>
                <a:gd name="T9" fmla="*/ 4 h 310"/>
                <a:gd name="T10" fmla="*/ 326 w 430"/>
                <a:gd name="T11" fmla="*/ 47 h 310"/>
                <a:gd name="T12" fmla="*/ 367 w 430"/>
                <a:gd name="T13" fmla="*/ 310 h 310"/>
                <a:gd name="T14" fmla="*/ 282 w 430"/>
                <a:gd name="T15" fmla="*/ 105 h 310"/>
                <a:gd name="T16" fmla="*/ 170 w 430"/>
                <a:gd name="T17" fmla="*/ 14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0" h="310">
                  <a:moveTo>
                    <a:pt x="170" y="148"/>
                  </a:moveTo>
                  <a:cubicBezTo>
                    <a:pt x="135" y="223"/>
                    <a:pt x="120" y="246"/>
                    <a:pt x="73" y="226"/>
                  </a:cubicBezTo>
                  <a:cubicBezTo>
                    <a:pt x="25" y="206"/>
                    <a:pt x="34" y="262"/>
                    <a:pt x="43" y="301"/>
                  </a:cubicBezTo>
                  <a:cubicBezTo>
                    <a:pt x="0" y="248"/>
                    <a:pt x="5" y="197"/>
                    <a:pt x="18" y="145"/>
                  </a:cubicBezTo>
                  <a:cubicBezTo>
                    <a:pt x="33" y="88"/>
                    <a:pt x="105" y="2"/>
                    <a:pt x="173" y="4"/>
                  </a:cubicBezTo>
                  <a:cubicBezTo>
                    <a:pt x="210" y="0"/>
                    <a:pt x="266" y="5"/>
                    <a:pt x="326" y="47"/>
                  </a:cubicBezTo>
                  <a:cubicBezTo>
                    <a:pt x="430" y="122"/>
                    <a:pt x="395" y="290"/>
                    <a:pt x="367" y="310"/>
                  </a:cubicBezTo>
                  <a:cubicBezTo>
                    <a:pt x="394" y="155"/>
                    <a:pt x="328" y="186"/>
                    <a:pt x="282" y="105"/>
                  </a:cubicBezTo>
                  <a:cubicBezTo>
                    <a:pt x="267" y="69"/>
                    <a:pt x="209" y="67"/>
                    <a:pt x="170" y="148"/>
                  </a:cubicBezTo>
                  <a:close/>
                </a:path>
              </a:pathLst>
            </a:custGeom>
            <a:solidFill>
              <a:srgbClr val="8060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170"/>
            <p:cNvSpPr>
              <a:spLocks noChangeArrowheads="1"/>
            </p:cNvSpPr>
            <p:nvPr/>
          </p:nvSpPr>
          <p:spPr bwMode="auto">
            <a:xfrm>
              <a:off x="5435600" y="3544094"/>
              <a:ext cx="23813" cy="3000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71"/>
            <p:cNvSpPr>
              <a:spLocks/>
            </p:cNvSpPr>
            <p:nvPr/>
          </p:nvSpPr>
          <p:spPr bwMode="auto">
            <a:xfrm>
              <a:off x="5248275" y="3386932"/>
              <a:ext cx="200025" cy="244475"/>
            </a:xfrm>
            <a:custGeom>
              <a:avLst/>
              <a:gdLst>
                <a:gd name="T0" fmla="*/ 53 w 126"/>
                <a:gd name="T1" fmla="*/ 0 h 154"/>
                <a:gd name="T2" fmla="*/ 0 w 126"/>
                <a:gd name="T3" fmla="*/ 49 h 154"/>
                <a:gd name="T4" fmla="*/ 67 w 126"/>
                <a:gd name="T5" fmla="*/ 154 h 154"/>
                <a:gd name="T6" fmla="*/ 126 w 126"/>
                <a:gd name="T7" fmla="*/ 98 h 154"/>
                <a:gd name="T8" fmla="*/ 53 w 126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4">
                  <a:moveTo>
                    <a:pt x="53" y="0"/>
                  </a:moveTo>
                  <a:lnTo>
                    <a:pt x="0" y="49"/>
                  </a:lnTo>
                  <a:lnTo>
                    <a:pt x="67" y="154"/>
                  </a:lnTo>
                  <a:lnTo>
                    <a:pt x="126" y="98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72"/>
            <p:cNvSpPr>
              <a:spLocks/>
            </p:cNvSpPr>
            <p:nvPr/>
          </p:nvSpPr>
          <p:spPr bwMode="auto">
            <a:xfrm>
              <a:off x="5248275" y="3386932"/>
              <a:ext cx="200025" cy="244475"/>
            </a:xfrm>
            <a:custGeom>
              <a:avLst/>
              <a:gdLst>
                <a:gd name="T0" fmla="*/ 53 w 126"/>
                <a:gd name="T1" fmla="*/ 0 h 154"/>
                <a:gd name="T2" fmla="*/ 0 w 126"/>
                <a:gd name="T3" fmla="*/ 49 h 154"/>
                <a:gd name="T4" fmla="*/ 67 w 126"/>
                <a:gd name="T5" fmla="*/ 154 h 154"/>
                <a:gd name="T6" fmla="*/ 126 w 126"/>
                <a:gd name="T7" fmla="*/ 98 h 154"/>
                <a:gd name="T8" fmla="*/ 53 w 126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4">
                  <a:moveTo>
                    <a:pt x="53" y="0"/>
                  </a:moveTo>
                  <a:lnTo>
                    <a:pt x="0" y="49"/>
                  </a:lnTo>
                  <a:lnTo>
                    <a:pt x="67" y="154"/>
                  </a:lnTo>
                  <a:lnTo>
                    <a:pt x="126" y="98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73"/>
            <p:cNvSpPr>
              <a:spLocks/>
            </p:cNvSpPr>
            <p:nvPr/>
          </p:nvSpPr>
          <p:spPr bwMode="auto">
            <a:xfrm>
              <a:off x="5448300" y="3385344"/>
              <a:ext cx="204788" cy="246063"/>
            </a:xfrm>
            <a:custGeom>
              <a:avLst/>
              <a:gdLst>
                <a:gd name="T0" fmla="*/ 76 w 129"/>
                <a:gd name="T1" fmla="*/ 0 h 155"/>
                <a:gd name="T2" fmla="*/ 129 w 129"/>
                <a:gd name="T3" fmla="*/ 52 h 155"/>
                <a:gd name="T4" fmla="*/ 59 w 129"/>
                <a:gd name="T5" fmla="*/ 155 h 155"/>
                <a:gd name="T6" fmla="*/ 0 w 129"/>
                <a:gd name="T7" fmla="*/ 99 h 155"/>
                <a:gd name="T8" fmla="*/ 76 w 129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5">
                  <a:moveTo>
                    <a:pt x="76" y="0"/>
                  </a:moveTo>
                  <a:lnTo>
                    <a:pt x="129" y="52"/>
                  </a:lnTo>
                  <a:lnTo>
                    <a:pt x="59" y="155"/>
                  </a:lnTo>
                  <a:lnTo>
                    <a:pt x="0" y="99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74"/>
            <p:cNvSpPr>
              <a:spLocks/>
            </p:cNvSpPr>
            <p:nvPr/>
          </p:nvSpPr>
          <p:spPr bwMode="auto">
            <a:xfrm>
              <a:off x="5448300" y="3385344"/>
              <a:ext cx="204788" cy="246063"/>
            </a:xfrm>
            <a:custGeom>
              <a:avLst/>
              <a:gdLst>
                <a:gd name="T0" fmla="*/ 76 w 129"/>
                <a:gd name="T1" fmla="*/ 0 h 155"/>
                <a:gd name="T2" fmla="*/ 129 w 129"/>
                <a:gd name="T3" fmla="*/ 52 h 155"/>
                <a:gd name="T4" fmla="*/ 59 w 129"/>
                <a:gd name="T5" fmla="*/ 155 h 155"/>
                <a:gd name="T6" fmla="*/ 0 w 129"/>
                <a:gd name="T7" fmla="*/ 99 h 155"/>
                <a:gd name="T8" fmla="*/ 76 w 129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5">
                  <a:moveTo>
                    <a:pt x="76" y="0"/>
                  </a:moveTo>
                  <a:lnTo>
                    <a:pt x="129" y="52"/>
                  </a:lnTo>
                  <a:lnTo>
                    <a:pt x="59" y="155"/>
                  </a:lnTo>
                  <a:lnTo>
                    <a:pt x="0" y="99"/>
                  </a:lnTo>
                  <a:lnTo>
                    <a:pt x="7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75"/>
            <p:cNvSpPr>
              <a:spLocks noEditPoints="1"/>
            </p:cNvSpPr>
            <p:nvPr/>
          </p:nvSpPr>
          <p:spPr bwMode="auto">
            <a:xfrm>
              <a:off x="5200650" y="2972594"/>
              <a:ext cx="508000" cy="184150"/>
            </a:xfrm>
            <a:custGeom>
              <a:avLst/>
              <a:gdLst>
                <a:gd name="T0" fmla="*/ 236 w 316"/>
                <a:gd name="T1" fmla="*/ 114 h 115"/>
                <a:gd name="T2" fmla="*/ 240 w 316"/>
                <a:gd name="T3" fmla="*/ 114 h 115"/>
                <a:gd name="T4" fmla="*/ 297 w 316"/>
                <a:gd name="T5" fmla="*/ 68 h 115"/>
                <a:gd name="T6" fmla="*/ 310 w 316"/>
                <a:gd name="T7" fmla="*/ 30 h 115"/>
                <a:gd name="T8" fmla="*/ 316 w 316"/>
                <a:gd name="T9" fmla="*/ 16 h 115"/>
                <a:gd name="T10" fmla="*/ 307 w 316"/>
                <a:gd name="T11" fmla="*/ 5 h 115"/>
                <a:gd name="T12" fmla="*/ 238 w 316"/>
                <a:gd name="T13" fmla="*/ 2 h 115"/>
                <a:gd name="T14" fmla="*/ 238 w 316"/>
                <a:gd name="T15" fmla="*/ 9 h 115"/>
                <a:gd name="T16" fmla="*/ 285 w 316"/>
                <a:gd name="T17" fmla="*/ 14 h 115"/>
                <a:gd name="T18" fmla="*/ 283 w 316"/>
                <a:gd name="T19" fmla="*/ 86 h 115"/>
                <a:gd name="T20" fmla="*/ 236 w 316"/>
                <a:gd name="T21" fmla="*/ 108 h 115"/>
                <a:gd name="T22" fmla="*/ 236 w 316"/>
                <a:gd name="T23" fmla="*/ 114 h 115"/>
                <a:gd name="T24" fmla="*/ 158 w 316"/>
                <a:gd name="T25" fmla="*/ 15 h 115"/>
                <a:gd name="T26" fmla="*/ 84 w 316"/>
                <a:gd name="T27" fmla="*/ 2 h 115"/>
                <a:gd name="T28" fmla="*/ 78 w 316"/>
                <a:gd name="T29" fmla="*/ 2 h 115"/>
                <a:gd name="T30" fmla="*/ 78 w 316"/>
                <a:gd name="T31" fmla="*/ 9 h 115"/>
                <a:gd name="T32" fmla="*/ 130 w 316"/>
                <a:gd name="T33" fmla="*/ 27 h 115"/>
                <a:gd name="T34" fmla="*/ 99 w 316"/>
                <a:gd name="T35" fmla="*/ 103 h 115"/>
                <a:gd name="T36" fmla="*/ 76 w 316"/>
                <a:gd name="T37" fmla="*/ 108 h 115"/>
                <a:gd name="T38" fmla="*/ 76 w 316"/>
                <a:gd name="T39" fmla="*/ 115 h 115"/>
                <a:gd name="T40" fmla="*/ 130 w 316"/>
                <a:gd name="T41" fmla="*/ 80 h 115"/>
                <a:gd name="T42" fmla="*/ 157 w 316"/>
                <a:gd name="T43" fmla="*/ 41 h 115"/>
                <a:gd name="T44" fmla="*/ 183 w 316"/>
                <a:gd name="T45" fmla="*/ 79 h 115"/>
                <a:gd name="T46" fmla="*/ 236 w 316"/>
                <a:gd name="T47" fmla="*/ 114 h 115"/>
                <a:gd name="T48" fmla="*/ 236 w 316"/>
                <a:gd name="T49" fmla="*/ 108 h 115"/>
                <a:gd name="T50" fmla="*/ 211 w 316"/>
                <a:gd name="T51" fmla="*/ 103 h 115"/>
                <a:gd name="T52" fmla="*/ 185 w 316"/>
                <a:gd name="T53" fmla="*/ 27 h 115"/>
                <a:gd name="T54" fmla="*/ 238 w 316"/>
                <a:gd name="T55" fmla="*/ 9 h 115"/>
                <a:gd name="T56" fmla="*/ 238 w 316"/>
                <a:gd name="T57" fmla="*/ 2 h 115"/>
                <a:gd name="T58" fmla="*/ 233 w 316"/>
                <a:gd name="T59" fmla="*/ 2 h 115"/>
                <a:gd name="T60" fmla="*/ 158 w 316"/>
                <a:gd name="T61" fmla="*/ 15 h 115"/>
                <a:gd name="T62" fmla="*/ 78 w 316"/>
                <a:gd name="T63" fmla="*/ 2 h 115"/>
                <a:gd name="T64" fmla="*/ 9 w 316"/>
                <a:gd name="T65" fmla="*/ 6 h 115"/>
                <a:gd name="T66" fmla="*/ 0 w 316"/>
                <a:gd name="T67" fmla="*/ 17 h 115"/>
                <a:gd name="T68" fmla="*/ 5 w 316"/>
                <a:gd name="T69" fmla="*/ 31 h 115"/>
                <a:gd name="T70" fmla="*/ 15 w 316"/>
                <a:gd name="T71" fmla="*/ 69 h 115"/>
                <a:gd name="T72" fmla="*/ 69 w 316"/>
                <a:gd name="T73" fmla="*/ 114 h 115"/>
                <a:gd name="T74" fmla="*/ 76 w 316"/>
                <a:gd name="T75" fmla="*/ 115 h 115"/>
                <a:gd name="T76" fmla="*/ 76 w 316"/>
                <a:gd name="T77" fmla="*/ 108 h 115"/>
                <a:gd name="T78" fmla="*/ 28 w 316"/>
                <a:gd name="T79" fmla="*/ 86 h 115"/>
                <a:gd name="T80" fmla="*/ 31 w 316"/>
                <a:gd name="T81" fmla="*/ 14 h 115"/>
                <a:gd name="T82" fmla="*/ 78 w 316"/>
                <a:gd name="T83" fmla="*/ 9 h 115"/>
                <a:gd name="T84" fmla="*/ 78 w 316"/>
                <a:gd name="T85" fmla="*/ 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6" h="115">
                  <a:moveTo>
                    <a:pt x="236" y="114"/>
                  </a:moveTo>
                  <a:cubicBezTo>
                    <a:pt x="237" y="114"/>
                    <a:pt x="239" y="114"/>
                    <a:pt x="240" y="114"/>
                  </a:cubicBezTo>
                  <a:cubicBezTo>
                    <a:pt x="282" y="110"/>
                    <a:pt x="293" y="92"/>
                    <a:pt x="297" y="68"/>
                  </a:cubicBezTo>
                  <a:cubicBezTo>
                    <a:pt x="302" y="42"/>
                    <a:pt x="303" y="33"/>
                    <a:pt x="310" y="30"/>
                  </a:cubicBezTo>
                  <a:cubicBezTo>
                    <a:pt x="314" y="28"/>
                    <a:pt x="316" y="23"/>
                    <a:pt x="316" y="16"/>
                  </a:cubicBezTo>
                  <a:cubicBezTo>
                    <a:pt x="315" y="9"/>
                    <a:pt x="315" y="8"/>
                    <a:pt x="307" y="5"/>
                  </a:cubicBezTo>
                  <a:cubicBezTo>
                    <a:pt x="301" y="3"/>
                    <a:pt x="265" y="0"/>
                    <a:pt x="238" y="2"/>
                  </a:cubicBezTo>
                  <a:cubicBezTo>
                    <a:pt x="238" y="9"/>
                    <a:pt x="238" y="9"/>
                    <a:pt x="238" y="9"/>
                  </a:cubicBezTo>
                  <a:cubicBezTo>
                    <a:pt x="259" y="8"/>
                    <a:pt x="279" y="10"/>
                    <a:pt x="285" y="14"/>
                  </a:cubicBezTo>
                  <a:cubicBezTo>
                    <a:pt x="299" y="23"/>
                    <a:pt x="295" y="65"/>
                    <a:pt x="283" y="86"/>
                  </a:cubicBezTo>
                  <a:cubicBezTo>
                    <a:pt x="276" y="100"/>
                    <a:pt x="255" y="107"/>
                    <a:pt x="236" y="108"/>
                  </a:cubicBezTo>
                  <a:lnTo>
                    <a:pt x="236" y="114"/>
                  </a:lnTo>
                  <a:close/>
                  <a:moveTo>
                    <a:pt x="158" y="15"/>
                  </a:moveTo>
                  <a:cubicBezTo>
                    <a:pt x="148" y="16"/>
                    <a:pt x="110" y="5"/>
                    <a:pt x="84" y="2"/>
                  </a:cubicBezTo>
                  <a:cubicBezTo>
                    <a:pt x="82" y="2"/>
                    <a:pt x="80" y="2"/>
                    <a:pt x="78" y="2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99" y="10"/>
                    <a:pt x="122" y="15"/>
                    <a:pt x="130" y="27"/>
                  </a:cubicBezTo>
                  <a:cubicBezTo>
                    <a:pt x="143" y="46"/>
                    <a:pt x="120" y="93"/>
                    <a:pt x="99" y="103"/>
                  </a:cubicBezTo>
                  <a:cubicBezTo>
                    <a:pt x="93" y="106"/>
                    <a:pt x="84" y="108"/>
                    <a:pt x="76" y="108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112" y="115"/>
                    <a:pt x="125" y="89"/>
                    <a:pt x="130" y="80"/>
                  </a:cubicBezTo>
                  <a:cubicBezTo>
                    <a:pt x="138" y="63"/>
                    <a:pt x="136" y="41"/>
                    <a:pt x="157" y="41"/>
                  </a:cubicBezTo>
                  <a:cubicBezTo>
                    <a:pt x="178" y="41"/>
                    <a:pt x="175" y="63"/>
                    <a:pt x="183" y="79"/>
                  </a:cubicBezTo>
                  <a:cubicBezTo>
                    <a:pt x="187" y="88"/>
                    <a:pt x="198" y="115"/>
                    <a:pt x="236" y="114"/>
                  </a:cubicBezTo>
                  <a:cubicBezTo>
                    <a:pt x="236" y="108"/>
                    <a:pt x="236" y="108"/>
                    <a:pt x="236" y="108"/>
                  </a:cubicBezTo>
                  <a:cubicBezTo>
                    <a:pt x="227" y="108"/>
                    <a:pt x="218" y="106"/>
                    <a:pt x="211" y="103"/>
                  </a:cubicBezTo>
                  <a:cubicBezTo>
                    <a:pt x="191" y="93"/>
                    <a:pt x="171" y="46"/>
                    <a:pt x="185" y="27"/>
                  </a:cubicBezTo>
                  <a:cubicBezTo>
                    <a:pt x="194" y="15"/>
                    <a:pt x="216" y="10"/>
                    <a:pt x="238" y="9"/>
                  </a:cubicBezTo>
                  <a:cubicBezTo>
                    <a:pt x="238" y="2"/>
                    <a:pt x="238" y="2"/>
                    <a:pt x="238" y="2"/>
                  </a:cubicBezTo>
                  <a:cubicBezTo>
                    <a:pt x="236" y="2"/>
                    <a:pt x="235" y="2"/>
                    <a:pt x="233" y="2"/>
                  </a:cubicBezTo>
                  <a:cubicBezTo>
                    <a:pt x="209" y="4"/>
                    <a:pt x="179" y="15"/>
                    <a:pt x="158" y="15"/>
                  </a:cubicBezTo>
                  <a:close/>
                  <a:moveTo>
                    <a:pt x="78" y="2"/>
                  </a:moveTo>
                  <a:cubicBezTo>
                    <a:pt x="51" y="1"/>
                    <a:pt x="16" y="4"/>
                    <a:pt x="9" y="6"/>
                  </a:cubicBezTo>
                  <a:cubicBezTo>
                    <a:pt x="1" y="9"/>
                    <a:pt x="1" y="10"/>
                    <a:pt x="0" y="17"/>
                  </a:cubicBezTo>
                  <a:cubicBezTo>
                    <a:pt x="0" y="23"/>
                    <a:pt x="0" y="29"/>
                    <a:pt x="5" y="31"/>
                  </a:cubicBezTo>
                  <a:cubicBezTo>
                    <a:pt x="12" y="33"/>
                    <a:pt x="12" y="42"/>
                    <a:pt x="15" y="69"/>
                  </a:cubicBezTo>
                  <a:cubicBezTo>
                    <a:pt x="18" y="92"/>
                    <a:pt x="28" y="111"/>
                    <a:pt x="69" y="114"/>
                  </a:cubicBezTo>
                  <a:cubicBezTo>
                    <a:pt x="72" y="115"/>
                    <a:pt x="74" y="115"/>
                    <a:pt x="76" y="115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57" y="108"/>
                    <a:pt x="35" y="101"/>
                    <a:pt x="28" y="86"/>
                  </a:cubicBezTo>
                  <a:cubicBezTo>
                    <a:pt x="18" y="65"/>
                    <a:pt x="17" y="23"/>
                    <a:pt x="31" y="14"/>
                  </a:cubicBezTo>
                  <a:cubicBezTo>
                    <a:pt x="37" y="11"/>
                    <a:pt x="57" y="8"/>
                    <a:pt x="78" y="9"/>
                  </a:cubicBezTo>
                  <a:lnTo>
                    <a:pt x="78" y="2"/>
                  </a:lnTo>
                  <a:close/>
                </a:path>
              </a:pathLst>
            </a:custGeom>
            <a:solidFill>
              <a:srgbClr val="268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76"/>
            <p:cNvSpPr>
              <a:spLocks/>
            </p:cNvSpPr>
            <p:nvPr/>
          </p:nvSpPr>
          <p:spPr bwMode="auto">
            <a:xfrm>
              <a:off x="5448300" y="354250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479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77"/>
            <p:cNvSpPr>
              <a:spLocks/>
            </p:cNvSpPr>
            <p:nvPr/>
          </p:nvSpPr>
          <p:spPr bwMode="auto">
            <a:xfrm>
              <a:off x="5332413" y="3382169"/>
              <a:ext cx="236538" cy="160338"/>
            </a:xfrm>
            <a:custGeom>
              <a:avLst/>
              <a:gdLst>
                <a:gd name="T0" fmla="*/ 147 w 147"/>
                <a:gd name="T1" fmla="*/ 0 h 100"/>
                <a:gd name="T2" fmla="*/ 72 w 147"/>
                <a:gd name="T3" fmla="*/ 97 h 100"/>
                <a:gd name="T4" fmla="*/ 0 w 147"/>
                <a:gd name="T5" fmla="*/ 0 h 100"/>
                <a:gd name="T6" fmla="*/ 0 w 147"/>
                <a:gd name="T7" fmla="*/ 3 h 100"/>
                <a:gd name="T8" fmla="*/ 72 w 147"/>
                <a:gd name="T9" fmla="*/ 100 h 100"/>
                <a:gd name="T10" fmla="*/ 72 w 147"/>
                <a:gd name="T11" fmla="*/ 100 h 100"/>
                <a:gd name="T12" fmla="*/ 147 w 147"/>
                <a:gd name="T13" fmla="*/ 2 h 100"/>
                <a:gd name="T14" fmla="*/ 147 w 147"/>
                <a:gd name="T1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100">
                  <a:moveTo>
                    <a:pt x="147" y="0"/>
                  </a:moveTo>
                  <a:cubicBezTo>
                    <a:pt x="72" y="97"/>
                    <a:pt x="72" y="97"/>
                    <a:pt x="72" y="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E9CA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78"/>
            <p:cNvSpPr>
              <a:spLocks/>
            </p:cNvSpPr>
            <p:nvPr/>
          </p:nvSpPr>
          <p:spPr bwMode="auto">
            <a:xfrm>
              <a:off x="3284538" y="3305969"/>
              <a:ext cx="1247775" cy="566738"/>
            </a:xfrm>
            <a:custGeom>
              <a:avLst/>
              <a:gdLst>
                <a:gd name="T0" fmla="*/ 311 w 777"/>
                <a:gd name="T1" fmla="*/ 0 h 353"/>
                <a:gd name="T2" fmla="*/ 67 w 777"/>
                <a:gd name="T3" fmla="*/ 134 h 353"/>
                <a:gd name="T4" fmla="*/ 0 w 777"/>
                <a:gd name="T5" fmla="*/ 353 h 353"/>
                <a:gd name="T6" fmla="*/ 389 w 777"/>
                <a:gd name="T7" fmla="*/ 353 h 353"/>
                <a:gd name="T8" fmla="*/ 777 w 777"/>
                <a:gd name="T9" fmla="*/ 353 h 353"/>
                <a:gd name="T10" fmla="*/ 710 w 777"/>
                <a:gd name="T11" fmla="*/ 134 h 353"/>
                <a:gd name="T12" fmla="*/ 468 w 777"/>
                <a:gd name="T13" fmla="*/ 2 h 353"/>
                <a:gd name="T14" fmla="*/ 311 w 777"/>
                <a:gd name="T15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3">
                  <a:moveTo>
                    <a:pt x="311" y="0"/>
                  </a:moveTo>
                  <a:cubicBezTo>
                    <a:pt x="139" y="76"/>
                    <a:pt x="88" y="116"/>
                    <a:pt x="67" y="134"/>
                  </a:cubicBezTo>
                  <a:cubicBezTo>
                    <a:pt x="36" y="162"/>
                    <a:pt x="19" y="265"/>
                    <a:pt x="0" y="353"/>
                  </a:cubicBezTo>
                  <a:cubicBezTo>
                    <a:pt x="389" y="353"/>
                    <a:pt x="389" y="353"/>
                    <a:pt x="389" y="353"/>
                  </a:cubicBezTo>
                  <a:cubicBezTo>
                    <a:pt x="777" y="353"/>
                    <a:pt x="777" y="353"/>
                    <a:pt x="777" y="353"/>
                  </a:cubicBezTo>
                  <a:cubicBezTo>
                    <a:pt x="759" y="265"/>
                    <a:pt x="741" y="162"/>
                    <a:pt x="710" y="134"/>
                  </a:cubicBezTo>
                  <a:cubicBezTo>
                    <a:pt x="690" y="116"/>
                    <a:pt x="640" y="77"/>
                    <a:pt x="468" y="2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79"/>
            <p:cNvSpPr>
              <a:spLocks/>
            </p:cNvSpPr>
            <p:nvPr/>
          </p:nvSpPr>
          <p:spPr bwMode="auto">
            <a:xfrm>
              <a:off x="3284538" y="3305969"/>
              <a:ext cx="1247775" cy="566738"/>
            </a:xfrm>
            <a:custGeom>
              <a:avLst/>
              <a:gdLst>
                <a:gd name="T0" fmla="*/ 311 w 777"/>
                <a:gd name="T1" fmla="*/ 0 h 353"/>
                <a:gd name="T2" fmla="*/ 67 w 777"/>
                <a:gd name="T3" fmla="*/ 134 h 353"/>
                <a:gd name="T4" fmla="*/ 0 w 777"/>
                <a:gd name="T5" fmla="*/ 353 h 353"/>
                <a:gd name="T6" fmla="*/ 389 w 777"/>
                <a:gd name="T7" fmla="*/ 353 h 353"/>
                <a:gd name="T8" fmla="*/ 777 w 777"/>
                <a:gd name="T9" fmla="*/ 353 h 353"/>
                <a:gd name="T10" fmla="*/ 710 w 777"/>
                <a:gd name="T11" fmla="*/ 134 h 353"/>
                <a:gd name="T12" fmla="*/ 468 w 777"/>
                <a:gd name="T13" fmla="*/ 2 h 353"/>
                <a:gd name="T14" fmla="*/ 311 w 777"/>
                <a:gd name="T15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3">
                  <a:moveTo>
                    <a:pt x="311" y="0"/>
                  </a:moveTo>
                  <a:cubicBezTo>
                    <a:pt x="139" y="76"/>
                    <a:pt x="88" y="116"/>
                    <a:pt x="67" y="134"/>
                  </a:cubicBezTo>
                  <a:cubicBezTo>
                    <a:pt x="36" y="162"/>
                    <a:pt x="19" y="265"/>
                    <a:pt x="0" y="353"/>
                  </a:cubicBezTo>
                  <a:cubicBezTo>
                    <a:pt x="389" y="353"/>
                    <a:pt x="389" y="353"/>
                    <a:pt x="389" y="353"/>
                  </a:cubicBezTo>
                  <a:cubicBezTo>
                    <a:pt x="777" y="353"/>
                    <a:pt x="777" y="353"/>
                    <a:pt x="777" y="353"/>
                  </a:cubicBezTo>
                  <a:cubicBezTo>
                    <a:pt x="759" y="265"/>
                    <a:pt x="741" y="162"/>
                    <a:pt x="710" y="134"/>
                  </a:cubicBezTo>
                  <a:cubicBezTo>
                    <a:pt x="690" y="116"/>
                    <a:pt x="640" y="77"/>
                    <a:pt x="468" y="2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80"/>
            <p:cNvSpPr>
              <a:spLocks/>
            </p:cNvSpPr>
            <p:nvPr/>
          </p:nvSpPr>
          <p:spPr bwMode="auto">
            <a:xfrm>
              <a:off x="3775075" y="2902744"/>
              <a:ext cx="266700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81"/>
            <p:cNvSpPr>
              <a:spLocks/>
            </p:cNvSpPr>
            <p:nvPr/>
          </p:nvSpPr>
          <p:spPr bwMode="auto">
            <a:xfrm>
              <a:off x="3597275" y="2866232"/>
              <a:ext cx="112713" cy="165100"/>
            </a:xfrm>
            <a:custGeom>
              <a:avLst/>
              <a:gdLst>
                <a:gd name="T0" fmla="*/ 20 w 70"/>
                <a:gd name="T1" fmla="*/ 5 h 102"/>
                <a:gd name="T2" fmla="*/ 62 w 70"/>
                <a:gd name="T3" fmla="*/ 42 h 102"/>
                <a:gd name="T4" fmla="*/ 50 w 70"/>
                <a:gd name="T5" fmla="*/ 97 h 102"/>
                <a:gd name="T6" fmla="*/ 8 w 70"/>
                <a:gd name="T7" fmla="*/ 59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5" y="0"/>
                    <a:pt x="53" y="17"/>
                    <a:pt x="62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59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82"/>
            <p:cNvSpPr>
              <a:spLocks/>
            </p:cNvSpPr>
            <p:nvPr/>
          </p:nvSpPr>
          <p:spPr bwMode="auto">
            <a:xfrm>
              <a:off x="4106863" y="2866232"/>
              <a:ext cx="112713" cy="165100"/>
            </a:xfrm>
            <a:custGeom>
              <a:avLst/>
              <a:gdLst>
                <a:gd name="T0" fmla="*/ 50 w 70"/>
                <a:gd name="T1" fmla="*/ 5 h 102"/>
                <a:gd name="T2" fmla="*/ 8 w 70"/>
                <a:gd name="T3" fmla="*/ 42 h 102"/>
                <a:gd name="T4" fmla="*/ 20 w 70"/>
                <a:gd name="T5" fmla="*/ 97 h 102"/>
                <a:gd name="T6" fmla="*/ 61 w 70"/>
                <a:gd name="T7" fmla="*/ 59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5" y="0"/>
                    <a:pt x="16" y="17"/>
                    <a:pt x="8" y="42"/>
                  </a:cubicBezTo>
                  <a:cubicBezTo>
                    <a:pt x="0" y="67"/>
                    <a:pt x="5" y="92"/>
                    <a:pt x="20" y="97"/>
                  </a:cubicBezTo>
                  <a:cubicBezTo>
                    <a:pt x="34" y="102"/>
                    <a:pt x="53" y="85"/>
                    <a:pt x="61" y="59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83"/>
            <p:cNvSpPr>
              <a:spLocks/>
            </p:cNvSpPr>
            <p:nvPr/>
          </p:nvSpPr>
          <p:spPr bwMode="auto">
            <a:xfrm>
              <a:off x="3722688" y="3437732"/>
              <a:ext cx="354013" cy="434975"/>
            </a:xfrm>
            <a:custGeom>
              <a:avLst/>
              <a:gdLst>
                <a:gd name="T0" fmla="*/ 116 w 220"/>
                <a:gd name="T1" fmla="*/ 0 h 271"/>
                <a:gd name="T2" fmla="*/ 0 w 220"/>
                <a:gd name="T3" fmla="*/ 35 h 271"/>
                <a:gd name="T4" fmla="*/ 44 w 220"/>
                <a:gd name="T5" fmla="*/ 271 h 271"/>
                <a:gd name="T6" fmla="*/ 202 w 220"/>
                <a:gd name="T7" fmla="*/ 271 h 271"/>
                <a:gd name="T8" fmla="*/ 220 w 220"/>
                <a:gd name="T9" fmla="*/ 36 h 271"/>
                <a:gd name="T10" fmla="*/ 116 w 220"/>
                <a:gd name="T11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0" h="271">
                  <a:moveTo>
                    <a:pt x="116" y="0"/>
                  </a:moveTo>
                  <a:cubicBezTo>
                    <a:pt x="116" y="0"/>
                    <a:pt x="0" y="28"/>
                    <a:pt x="0" y="35"/>
                  </a:cubicBezTo>
                  <a:cubicBezTo>
                    <a:pt x="0" y="42"/>
                    <a:pt x="44" y="271"/>
                    <a:pt x="44" y="271"/>
                  </a:cubicBezTo>
                  <a:cubicBezTo>
                    <a:pt x="202" y="271"/>
                    <a:pt x="202" y="271"/>
                    <a:pt x="202" y="271"/>
                  </a:cubicBezTo>
                  <a:cubicBezTo>
                    <a:pt x="220" y="36"/>
                    <a:pt x="220" y="36"/>
                    <a:pt x="220" y="36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84"/>
            <p:cNvSpPr>
              <a:spLocks/>
            </p:cNvSpPr>
            <p:nvPr/>
          </p:nvSpPr>
          <p:spPr bwMode="auto">
            <a:xfrm>
              <a:off x="3598863" y="3312319"/>
              <a:ext cx="234950" cy="560388"/>
            </a:xfrm>
            <a:custGeom>
              <a:avLst/>
              <a:gdLst>
                <a:gd name="T0" fmla="*/ 111 w 148"/>
                <a:gd name="T1" fmla="*/ 0 h 353"/>
                <a:gd name="T2" fmla="*/ 111 w 148"/>
                <a:gd name="T3" fmla="*/ 38 h 353"/>
                <a:gd name="T4" fmla="*/ 148 w 148"/>
                <a:gd name="T5" fmla="*/ 353 h 353"/>
                <a:gd name="T6" fmla="*/ 84 w 148"/>
                <a:gd name="T7" fmla="*/ 353 h 353"/>
                <a:gd name="T8" fmla="*/ 15 w 148"/>
                <a:gd name="T9" fmla="*/ 213 h 353"/>
                <a:gd name="T10" fmla="*/ 81 w 148"/>
                <a:gd name="T11" fmla="*/ 168 h 353"/>
                <a:gd name="T12" fmla="*/ 0 w 148"/>
                <a:gd name="T13" fmla="*/ 131 h 353"/>
                <a:gd name="T14" fmla="*/ 75 w 148"/>
                <a:gd name="T15" fmla="*/ 16 h 353"/>
                <a:gd name="T16" fmla="*/ 111 w 148"/>
                <a:gd name="T17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353">
                  <a:moveTo>
                    <a:pt x="111" y="0"/>
                  </a:moveTo>
                  <a:lnTo>
                    <a:pt x="111" y="38"/>
                  </a:lnTo>
                  <a:lnTo>
                    <a:pt x="148" y="353"/>
                  </a:lnTo>
                  <a:lnTo>
                    <a:pt x="84" y="353"/>
                  </a:lnTo>
                  <a:lnTo>
                    <a:pt x="15" y="213"/>
                  </a:lnTo>
                  <a:lnTo>
                    <a:pt x="81" y="168"/>
                  </a:lnTo>
                  <a:lnTo>
                    <a:pt x="0" y="131"/>
                  </a:lnTo>
                  <a:lnTo>
                    <a:pt x="75" y="16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605F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85"/>
            <p:cNvSpPr>
              <a:spLocks/>
            </p:cNvSpPr>
            <p:nvPr/>
          </p:nvSpPr>
          <p:spPr bwMode="auto">
            <a:xfrm>
              <a:off x="3984625" y="3312319"/>
              <a:ext cx="233363" cy="560388"/>
            </a:xfrm>
            <a:custGeom>
              <a:avLst/>
              <a:gdLst>
                <a:gd name="T0" fmla="*/ 36 w 147"/>
                <a:gd name="T1" fmla="*/ 0 h 353"/>
                <a:gd name="T2" fmla="*/ 36 w 147"/>
                <a:gd name="T3" fmla="*/ 38 h 353"/>
                <a:gd name="T4" fmla="*/ 0 w 147"/>
                <a:gd name="T5" fmla="*/ 353 h 353"/>
                <a:gd name="T6" fmla="*/ 63 w 147"/>
                <a:gd name="T7" fmla="*/ 353 h 353"/>
                <a:gd name="T8" fmla="*/ 131 w 147"/>
                <a:gd name="T9" fmla="*/ 213 h 353"/>
                <a:gd name="T10" fmla="*/ 66 w 147"/>
                <a:gd name="T11" fmla="*/ 168 h 353"/>
                <a:gd name="T12" fmla="*/ 147 w 147"/>
                <a:gd name="T13" fmla="*/ 131 h 353"/>
                <a:gd name="T14" fmla="*/ 81 w 147"/>
                <a:gd name="T15" fmla="*/ 19 h 353"/>
                <a:gd name="T16" fmla="*/ 36 w 147"/>
                <a:gd name="T17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53">
                  <a:moveTo>
                    <a:pt x="36" y="0"/>
                  </a:moveTo>
                  <a:lnTo>
                    <a:pt x="36" y="38"/>
                  </a:lnTo>
                  <a:lnTo>
                    <a:pt x="0" y="353"/>
                  </a:lnTo>
                  <a:lnTo>
                    <a:pt x="63" y="353"/>
                  </a:lnTo>
                  <a:lnTo>
                    <a:pt x="131" y="213"/>
                  </a:lnTo>
                  <a:lnTo>
                    <a:pt x="66" y="168"/>
                  </a:lnTo>
                  <a:lnTo>
                    <a:pt x="147" y="131"/>
                  </a:lnTo>
                  <a:lnTo>
                    <a:pt x="81" y="19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605F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86"/>
            <p:cNvSpPr>
              <a:spLocks/>
            </p:cNvSpPr>
            <p:nvPr/>
          </p:nvSpPr>
          <p:spPr bwMode="auto">
            <a:xfrm>
              <a:off x="3851275" y="3437732"/>
              <a:ext cx="115888" cy="112713"/>
            </a:xfrm>
            <a:custGeom>
              <a:avLst/>
              <a:gdLst>
                <a:gd name="T0" fmla="*/ 0 w 72"/>
                <a:gd name="T1" fmla="*/ 39 h 70"/>
                <a:gd name="T2" fmla="*/ 20 w 72"/>
                <a:gd name="T3" fmla="*/ 70 h 70"/>
                <a:gd name="T4" fmla="*/ 51 w 72"/>
                <a:gd name="T5" fmla="*/ 70 h 70"/>
                <a:gd name="T6" fmla="*/ 72 w 72"/>
                <a:gd name="T7" fmla="*/ 39 h 70"/>
                <a:gd name="T8" fmla="*/ 36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0" y="70"/>
                    <a:pt x="20" y="70"/>
                    <a:pt x="20" y="70"/>
                  </a:cubicBezTo>
                  <a:cubicBezTo>
                    <a:pt x="30" y="70"/>
                    <a:pt x="41" y="70"/>
                    <a:pt x="51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87"/>
            <p:cNvSpPr>
              <a:spLocks/>
            </p:cNvSpPr>
            <p:nvPr/>
          </p:nvSpPr>
          <p:spPr bwMode="auto">
            <a:xfrm>
              <a:off x="3836988" y="3550444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1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1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88"/>
            <p:cNvSpPr>
              <a:spLocks/>
            </p:cNvSpPr>
            <p:nvPr/>
          </p:nvSpPr>
          <p:spPr bwMode="auto">
            <a:xfrm>
              <a:off x="3836988" y="3550444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1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1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89"/>
            <p:cNvSpPr>
              <a:spLocks/>
            </p:cNvSpPr>
            <p:nvPr/>
          </p:nvSpPr>
          <p:spPr bwMode="auto">
            <a:xfrm>
              <a:off x="3762375" y="3271044"/>
              <a:ext cx="146050" cy="282575"/>
            </a:xfrm>
            <a:custGeom>
              <a:avLst/>
              <a:gdLst>
                <a:gd name="T0" fmla="*/ 8 w 92"/>
                <a:gd name="T1" fmla="*/ 0 h 178"/>
                <a:gd name="T2" fmla="*/ 0 w 92"/>
                <a:gd name="T3" fmla="*/ 29 h 178"/>
                <a:gd name="T4" fmla="*/ 21 w 92"/>
                <a:gd name="T5" fmla="*/ 178 h 178"/>
                <a:gd name="T6" fmla="*/ 92 w 92"/>
                <a:gd name="T7" fmla="*/ 105 h 178"/>
                <a:gd name="T8" fmla="*/ 8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90"/>
            <p:cNvSpPr>
              <a:spLocks/>
            </p:cNvSpPr>
            <p:nvPr/>
          </p:nvSpPr>
          <p:spPr bwMode="auto">
            <a:xfrm>
              <a:off x="3762375" y="3271044"/>
              <a:ext cx="146050" cy="282575"/>
            </a:xfrm>
            <a:custGeom>
              <a:avLst/>
              <a:gdLst>
                <a:gd name="T0" fmla="*/ 8 w 92"/>
                <a:gd name="T1" fmla="*/ 0 h 178"/>
                <a:gd name="T2" fmla="*/ 0 w 92"/>
                <a:gd name="T3" fmla="*/ 29 h 178"/>
                <a:gd name="T4" fmla="*/ 21 w 92"/>
                <a:gd name="T5" fmla="*/ 178 h 178"/>
                <a:gd name="T6" fmla="*/ 92 w 92"/>
                <a:gd name="T7" fmla="*/ 105 h 178"/>
                <a:gd name="T8" fmla="*/ 8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91"/>
            <p:cNvSpPr>
              <a:spLocks/>
            </p:cNvSpPr>
            <p:nvPr/>
          </p:nvSpPr>
          <p:spPr bwMode="auto">
            <a:xfrm>
              <a:off x="3775075" y="3215482"/>
              <a:ext cx="266700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4 w 167"/>
                <a:gd name="T5" fmla="*/ 58 h 58"/>
                <a:gd name="T6" fmla="*/ 86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4" y="58"/>
                  </a:cubicBezTo>
                  <a:cubicBezTo>
                    <a:pt x="84" y="58"/>
                    <a:pt x="85" y="58"/>
                    <a:pt x="86" y="58"/>
                  </a:cubicBezTo>
                  <a:cubicBezTo>
                    <a:pt x="126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A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92"/>
            <p:cNvSpPr>
              <a:spLocks/>
            </p:cNvSpPr>
            <p:nvPr/>
          </p:nvSpPr>
          <p:spPr bwMode="auto">
            <a:xfrm>
              <a:off x="3582988" y="2442369"/>
              <a:ext cx="685800" cy="682625"/>
            </a:xfrm>
            <a:custGeom>
              <a:avLst/>
              <a:gdLst>
                <a:gd name="T0" fmla="*/ 335 w 427"/>
                <a:gd name="T1" fmla="*/ 61 h 425"/>
                <a:gd name="T2" fmla="*/ 403 w 427"/>
                <a:gd name="T3" fmla="*/ 129 h 425"/>
                <a:gd name="T4" fmla="*/ 207 w 427"/>
                <a:gd name="T5" fmla="*/ 424 h 425"/>
                <a:gd name="T6" fmla="*/ 33 w 427"/>
                <a:gd name="T7" fmla="*/ 332 h 425"/>
                <a:gd name="T8" fmla="*/ 50 w 427"/>
                <a:gd name="T9" fmla="*/ 82 h 425"/>
                <a:gd name="T10" fmla="*/ 335 w 427"/>
                <a:gd name="T11" fmla="*/ 6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7" h="425">
                  <a:moveTo>
                    <a:pt x="335" y="61"/>
                  </a:moveTo>
                  <a:cubicBezTo>
                    <a:pt x="373" y="67"/>
                    <a:pt x="394" y="93"/>
                    <a:pt x="403" y="129"/>
                  </a:cubicBezTo>
                  <a:cubicBezTo>
                    <a:pt x="427" y="221"/>
                    <a:pt x="377" y="422"/>
                    <a:pt x="207" y="424"/>
                  </a:cubicBezTo>
                  <a:cubicBezTo>
                    <a:pt x="119" y="425"/>
                    <a:pt x="56" y="403"/>
                    <a:pt x="33" y="332"/>
                  </a:cubicBezTo>
                  <a:cubicBezTo>
                    <a:pt x="10" y="261"/>
                    <a:pt x="0" y="146"/>
                    <a:pt x="50" y="82"/>
                  </a:cubicBezTo>
                  <a:cubicBezTo>
                    <a:pt x="113" y="1"/>
                    <a:pt x="246" y="0"/>
                    <a:pt x="335" y="61"/>
                  </a:cubicBezTo>
                  <a:close/>
                </a:path>
              </a:pathLst>
            </a:custGeom>
            <a:solidFill>
              <a:srgbClr val="755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93"/>
            <p:cNvSpPr>
              <a:spLocks/>
            </p:cNvSpPr>
            <p:nvPr/>
          </p:nvSpPr>
          <p:spPr bwMode="auto">
            <a:xfrm>
              <a:off x="3497263" y="2518569"/>
              <a:ext cx="822325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9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94"/>
            <p:cNvSpPr>
              <a:spLocks/>
            </p:cNvSpPr>
            <p:nvPr/>
          </p:nvSpPr>
          <p:spPr bwMode="auto">
            <a:xfrm>
              <a:off x="3560763" y="2497932"/>
              <a:ext cx="692150" cy="449263"/>
            </a:xfrm>
            <a:custGeom>
              <a:avLst/>
              <a:gdLst>
                <a:gd name="T0" fmla="*/ 93 w 431"/>
                <a:gd name="T1" fmla="*/ 123 h 280"/>
                <a:gd name="T2" fmla="*/ 215 w 431"/>
                <a:gd name="T3" fmla="*/ 127 h 280"/>
                <a:gd name="T4" fmla="*/ 392 w 431"/>
                <a:gd name="T5" fmla="*/ 247 h 280"/>
                <a:gd name="T6" fmla="*/ 223 w 431"/>
                <a:gd name="T7" fmla="*/ 7 h 280"/>
                <a:gd name="T8" fmla="*/ 44 w 431"/>
                <a:gd name="T9" fmla="*/ 280 h 280"/>
                <a:gd name="T10" fmla="*/ 93 w 431"/>
                <a:gd name="T11" fmla="*/ 12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1" h="280">
                  <a:moveTo>
                    <a:pt x="93" y="123"/>
                  </a:moveTo>
                  <a:cubicBezTo>
                    <a:pt x="138" y="151"/>
                    <a:pt x="174" y="109"/>
                    <a:pt x="215" y="127"/>
                  </a:cubicBezTo>
                  <a:cubicBezTo>
                    <a:pt x="256" y="145"/>
                    <a:pt x="368" y="59"/>
                    <a:pt x="392" y="247"/>
                  </a:cubicBezTo>
                  <a:cubicBezTo>
                    <a:pt x="431" y="111"/>
                    <a:pt x="372" y="14"/>
                    <a:pt x="223" y="7"/>
                  </a:cubicBezTo>
                  <a:cubicBezTo>
                    <a:pt x="64" y="0"/>
                    <a:pt x="0" y="145"/>
                    <a:pt x="44" y="280"/>
                  </a:cubicBezTo>
                  <a:cubicBezTo>
                    <a:pt x="41" y="207"/>
                    <a:pt x="59" y="159"/>
                    <a:pt x="93" y="123"/>
                  </a:cubicBezTo>
                  <a:close/>
                </a:path>
              </a:pathLst>
            </a:custGeom>
            <a:solidFill>
              <a:srgbClr val="755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95"/>
            <p:cNvSpPr>
              <a:spLocks/>
            </p:cNvSpPr>
            <p:nvPr/>
          </p:nvSpPr>
          <p:spPr bwMode="auto">
            <a:xfrm>
              <a:off x="3703638" y="2658269"/>
              <a:ext cx="261938" cy="63500"/>
            </a:xfrm>
            <a:custGeom>
              <a:avLst/>
              <a:gdLst>
                <a:gd name="T0" fmla="*/ 0 w 163"/>
                <a:gd name="T1" fmla="*/ 11 h 40"/>
                <a:gd name="T2" fmla="*/ 58 w 163"/>
                <a:gd name="T3" fmla="*/ 39 h 40"/>
                <a:gd name="T4" fmla="*/ 104 w 163"/>
                <a:gd name="T5" fmla="*/ 33 h 40"/>
                <a:gd name="T6" fmla="*/ 162 w 163"/>
                <a:gd name="T7" fmla="*/ 9 h 40"/>
                <a:gd name="T8" fmla="*/ 161 w 163"/>
                <a:gd name="T9" fmla="*/ 4 h 40"/>
                <a:gd name="T10" fmla="*/ 73 w 163"/>
                <a:gd name="T11" fmla="*/ 26 h 40"/>
                <a:gd name="T12" fmla="*/ 3 w 163"/>
                <a:gd name="T13" fmla="*/ 10 h 40"/>
                <a:gd name="T14" fmla="*/ 0 w 163"/>
                <a:gd name="T15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40">
                  <a:moveTo>
                    <a:pt x="0" y="11"/>
                  </a:moveTo>
                  <a:cubicBezTo>
                    <a:pt x="1" y="35"/>
                    <a:pt x="41" y="38"/>
                    <a:pt x="58" y="39"/>
                  </a:cubicBezTo>
                  <a:cubicBezTo>
                    <a:pt x="74" y="40"/>
                    <a:pt x="89" y="38"/>
                    <a:pt x="104" y="33"/>
                  </a:cubicBezTo>
                  <a:cubicBezTo>
                    <a:pt x="123" y="28"/>
                    <a:pt x="147" y="21"/>
                    <a:pt x="162" y="9"/>
                  </a:cubicBezTo>
                  <a:cubicBezTo>
                    <a:pt x="163" y="7"/>
                    <a:pt x="163" y="5"/>
                    <a:pt x="161" y="4"/>
                  </a:cubicBezTo>
                  <a:cubicBezTo>
                    <a:pt x="132" y="0"/>
                    <a:pt x="102" y="23"/>
                    <a:pt x="73" y="26"/>
                  </a:cubicBezTo>
                  <a:cubicBezTo>
                    <a:pt x="50" y="28"/>
                    <a:pt x="20" y="25"/>
                    <a:pt x="3" y="10"/>
                  </a:cubicBezTo>
                  <a:cubicBezTo>
                    <a:pt x="1" y="9"/>
                    <a:pt x="0" y="9"/>
                    <a:pt x="0" y="11"/>
                  </a:cubicBezTo>
                  <a:close/>
                </a:path>
              </a:pathLst>
            </a:custGeom>
            <a:solidFill>
              <a:srgbClr val="755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96"/>
            <p:cNvSpPr>
              <a:spLocks noEditPoints="1"/>
            </p:cNvSpPr>
            <p:nvPr/>
          </p:nvSpPr>
          <p:spPr bwMode="auto">
            <a:xfrm>
              <a:off x="3659188" y="2859882"/>
              <a:ext cx="504825" cy="185738"/>
            </a:xfrm>
            <a:custGeom>
              <a:avLst/>
              <a:gdLst>
                <a:gd name="T0" fmla="*/ 235 w 315"/>
                <a:gd name="T1" fmla="*/ 114 h 115"/>
                <a:gd name="T2" fmla="*/ 240 w 315"/>
                <a:gd name="T3" fmla="*/ 114 h 115"/>
                <a:gd name="T4" fmla="*/ 296 w 315"/>
                <a:gd name="T5" fmla="*/ 68 h 115"/>
                <a:gd name="T6" fmla="*/ 308 w 315"/>
                <a:gd name="T7" fmla="*/ 30 h 115"/>
                <a:gd name="T8" fmla="*/ 314 w 315"/>
                <a:gd name="T9" fmla="*/ 16 h 115"/>
                <a:gd name="T10" fmla="*/ 306 w 315"/>
                <a:gd name="T11" fmla="*/ 6 h 115"/>
                <a:gd name="T12" fmla="*/ 237 w 315"/>
                <a:gd name="T13" fmla="*/ 2 h 115"/>
                <a:gd name="T14" fmla="*/ 237 w 315"/>
                <a:gd name="T15" fmla="*/ 9 h 115"/>
                <a:gd name="T16" fmla="*/ 284 w 315"/>
                <a:gd name="T17" fmla="*/ 14 h 115"/>
                <a:gd name="T18" fmla="*/ 282 w 315"/>
                <a:gd name="T19" fmla="*/ 85 h 115"/>
                <a:gd name="T20" fmla="*/ 235 w 315"/>
                <a:gd name="T21" fmla="*/ 107 h 115"/>
                <a:gd name="T22" fmla="*/ 235 w 315"/>
                <a:gd name="T23" fmla="*/ 114 h 115"/>
                <a:gd name="T24" fmla="*/ 157 w 315"/>
                <a:gd name="T25" fmla="*/ 15 h 115"/>
                <a:gd name="T26" fmla="*/ 83 w 315"/>
                <a:gd name="T27" fmla="*/ 2 h 115"/>
                <a:gd name="T28" fmla="*/ 78 w 315"/>
                <a:gd name="T29" fmla="*/ 2 h 115"/>
                <a:gd name="T30" fmla="*/ 77 w 315"/>
                <a:gd name="T31" fmla="*/ 9 h 115"/>
                <a:gd name="T32" fmla="*/ 129 w 315"/>
                <a:gd name="T33" fmla="*/ 27 h 115"/>
                <a:gd name="T34" fmla="*/ 99 w 315"/>
                <a:gd name="T35" fmla="*/ 103 h 115"/>
                <a:gd name="T36" fmla="*/ 76 w 315"/>
                <a:gd name="T37" fmla="*/ 108 h 115"/>
                <a:gd name="T38" fmla="*/ 75 w 315"/>
                <a:gd name="T39" fmla="*/ 114 h 115"/>
                <a:gd name="T40" fmla="*/ 129 w 315"/>
                <a:gd name="T41" fmla="*/ 80 h 115"/>
                <a:gd name="T42" fmla="*/ 157 w 315"/>
                <a:gd name="T43" fmla="*/ 41 h 115"/>
                <a:gd name="T44" fmla="*/ 182 w 315"/>
                <a:gd name="T45" fmla="*/ 79 h 115"/>
                <a:gd name="T46" fmla="*/ 235 w 315"/>
                <a:gd name="T47" fmla="*/ 114 h 115"/>
                <a:gd name="T48" fmla="*/ 235 w 315"/>
                <a:gd name="T49" fmla="*/ 107 h 115"/>
                <a:gd name="T50" fmla="*/ 211 w 315"/>
                <a:gd name="T51" fmla="*/ 102 h 115"/>
                <a:gd name="T52" fmla="*/ 185 w 315"/>
                <a:gd name="T53" fmla="*/ 26 h 115"/>
                <a:gd name="T54" fmla="*/ 237 w 315"/>
                <a:gd name="T55" fmla="*/ 9 h 115"/>
                <a:gd name="T56" fmla="*/ 237 w 315"/>
                <a:gd name="T57" fmla="*/ 2 h 115"/>
                <a:gd name="T58" fmla="*/ 232 w 315"/>
                <a:gd name="T59" fmla="*/ 2 h 115"/>
                <a:gd name="T60" fmla="*/ 157 w 315"/>
                <a:gd name="T61" fmla="*/ 15 h 115"/>
                <a:gd name="T62" fmla="*/ 78 w 315"/>
                <a:gd name="T63" fmla="*/ 2 h 115"/>
                <a:gd name="T64" fmla="*/ 10 w 315"/>
                <a:gd name="T65" fmla="*/ 6 h 115"/>
                <a:gd name="T66" fmla="*/ 0 w 315"/>
                <a:gd name="T67" fmla="*/ 17 h 115"/>
                <a:gd name="T68" fmla="*/ 5 w 315"/>
                <a:gd name="T69" fmla="*/ 31 h 115"/>
                <a:gd name="T70" fmla="*/ 15 w 315"/>
                <a:gd name="T71" fmla="*/ 68 h 115"/>
                <a:gd name="T72" fmla="*/ 69 w 315"/>
                <a:gd name="T73" fmla="*/ 114 h 115"/>
                <a:gd name="T74" fmla="*/ 75 w 315"/>
                <a:gd name="T75" fmla="*/ 114 h 115"/>
                <a:gd name="T76" fmla="*/ 76 w 315"/>
                <a:gd name="T77" fmla="*/ 108 h 115"/>
                <a:gd name="T78" fmla="*/ 28 w 315"/>
                <a:gd name="T79" fmla="*/ 86 h 115"/>
                <a:gd name="T80" fmla="*/ 31 w 315"/>
                <a:gd name="T81" fmla="*/ 14 h 115"/>
                <a:gd name="T82" fmla="*/ 77 w 315"/>
                <a:gd name="T83" fmla="*/ 9 h 115"/>
                <a:gd name="T84" fmla="*/ 78 w 315"/>
                <a:gd name="T85" fmla="*/ 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15">
                  <a:moveTo>
                    <a:pt x="235" y="114"/>
                  </a:moveTo>
                  <a:cubicBezTo>
                    <a:pt x="237" y="114"/>
                    <a:pt x="238" y="114"/>
                    <a:pt x="240" y="114"/>
                  </a:cubicBezTo>
                  <a:cubicBezTo>
                    <a:pt x="281" y="110"/>
                    <a:pt x="292" y="91"/>
                    <a:pt x="296" y="68"/>
                  </a:cubicBezTo>
                  <a:cubicBezTo>
                    <a:pt x="301" y="42"/>
                    <a:pt x="302" y="33"/>
                    <a:pt x="308" y="30"/>
                  </a:cubicBezTo>
                  <a:cubicBezTo>
                    <a:pt x="313" y="28"/>
                    <a:pt x="315" y="23"/>
                    <a:pt x="314" y="16"/>
                  </a:cubicBezTo>
                  <a:cubicBezTo>
                    <a:pt x="314" y="9"/>
                    <a:pt x="314" y="8"/>
                    <a:pt x="306" y="6"/>
                  </a:cubicBezTo>
                  <a:cubicBezTo>
                    <a:pt x="299" y="3"/>
                    <a:pt x="264" y="0"/>
                    <a:pt x="237" y="2"/>
                  </a:cubicBezTo>
                  <a:cubicBezTo>
                    <a:pt x="237" y="9"/>
                    <a:pt x="237" y="9"/>
                    <a:pt x="237" y="9"/>
                  </a:cubicBezTo>
                  <a:cubicBezTo>
                    <a:pt x="258" y="8"/>
                    <a:pt x="278" y="10"/>
                    <a:pt x="284" y="14"/>
                  </a:cubicBezTo>
                  <a:cubicBezTo>
                    <a:pt x="298" y="23"/>
                    <a:pt x="294" y="64"/>
                    <a:pt x="282" y="85"/>
                  </a:cubicBezTo>
                  <a:cubicBezTo>
                    <a:pt x="275" y="100"/>
                    <a:pt x="254" y="107"/>
                    <a:pt x="235" y="107"/>
                  </a:cubicBezTo>
                  <a:lnTo>
                    <a:pt x="235" y="114"/>
                  </a:lnTo>
                  <a:close/>
                  <a:moveTo>
                    <a:pt x="157" y="15"/>
                  </a:moveTo>
                  <a:cubicBezTo>
                    <a:pt x="148" y="16"/>
                    <a:pt x="110" y="5"/>
                    <a:pt x="83" y="2"/>
                  </a:cubicBezTo>
                  <a:cubicBezTo>
                    <a:pt x="82" y="2"/>
                    <a:pt x="80" y="2"/>
                    <a:pt x="78" y="2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99" y="10"/>
                    <a:pt x="122" y="15"/>
                    <a:pt x="129" y="27"/>
                  </a:cubicBezTo>
                  <a:cubicBezTo>
                    <a:pt x="142" y="46"/>
                    <a:pt x="119" y="92"/>
                    <a:pt x="99" y="103"/>
                  </a:cubicBezTo>
                  <a:cubicBezTo>
                    <a:pt x="93" y="106"/>
                    <a:pt x="84" y="108"/>
                    <a:pt x="76" y="108"/>
                  </a:cubicBezTo>
                  <a:cubicBezTo>
                    <a:pt x="75" y="114"/>
                    <a:pt x="75" y="114"/>
                    <a:pt x="75" y="114"/>
                  </a:cubicBezTo>
                  <a:cubicBezTo>
                    <a:pt x="112" y="114"/>
                    <a:pt x="125" y="88"/>
                    <a:pt x="129" y="80"/>
                  </a:cubicBezTo>
                  <a:cubicBezTo>
                    <a:pt x="138" y="63"/>
                    <a:pt x="136" y="41"/>
                    <a:pt x="157" y="41"/>
                  </a:cubicBezTo>
                  <a:cubicBezTo>
                    <a:pt x="177" y="41"/>
                    <a:pt x="175" y="63"/>
                    <a:pt x="182" y="79"/>
                  </a:cubicBezTo>
                  <a:cubicBezTo>
                    <a:pt x="186" y="88"/>
                    <a:pt x="198" y="115"/>
                    <a:pt x="235" y="114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26" y="107"/>
                    <a:pt x="217" y="106"/>
                    <a:pt x="211" y="102"/>
                  </a:cubicBezTo>
                  <a:cubicBezTo>
                    <a:pt x="191" y="92"/>
                    <a:pt x="171" y="46"/>
                    <a:pt x="185" y="26"/>
                  </a:cubicBezTo>
                  <a:cubicBezTo>
                    <a:pt x="193" y="15"/>
                    <a:pt x="215" y="10"/>
                    <a:pt x="237" y="9"/>
                  </a:cubicBezTo>
                  <a:cubicBezTo>
                    <a:pt x="237" y="2"/>
                    <a:pt x="237" y="2"/>
                    <a:pt x="237" y="2"/>
                  </a:cubicBezTo>
                  <a:cubicBezTo>
                    <a:pt x="235" y="2"/>
                    <a:pt x="234" y="2"/>
                    <a:pt x="232" y="2"/>
                  </a:cubicBezTo>
                  <a:cubicBezTo>
                    <a:pt x="208" y="4"/>
                    <a:pt x="179" y="15"/>
                    <a:pt x="157" y="15"/>
                  </a:cubicBezTo>
                  <a:close/>
                  <a:moveTo>
                    <a:pt x="78" y="2"/>
                  </a:moveTo>
                  <a:cubicBezTo>
                    <a:pt x="51" y="1"/>
                    <a:pt x="16" y="4"/>
                    <a:pt x="10" y="6"/>
                  </a:cubicBezTo>
                  <a:cubicBezTo>
                    <a:pt x="1" y="9"/>
                    <a:pt x="1" y="10"/>
                    <a:pt x="0" y="17"/>
                  </a:cubicBezTo>
                  <a:cubicBezTo>
                    <a:pt x="0" y="23"/>
                    <a:pt x="1" y="29"/>
                    <a:pt x="5" y="31"/>
                  </a:cubicBezTo>
                  <a:cubicBezTo>
                    <a:pt x="12" y="33"/>
                    <a:pt x="12" y="42"/>
                    <a:pt x="15" y="68"/>
                  </a:cubicBezTo>
                  <a:cubicBezTo>
                    <a:pt x="19" y="92"/>
                    <a:pt x="28" y="111"/>
                    <a:pt x="69" y="114"/>
                  </a:cubicBezTo>
                  <a:cubicBezTo>
                    <a:pt x="71" y="114"/>
                    <a:pt x="73" y="114"/>
                    <a:pt x="75" y="114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57" y="108"/>
                    <a:pt x="35" y="101"/>
                    <a:pt x="28" y="86"/>
                  </a:cubicBezTo>
                  <a:cubicBezTo>
                    <a:pt x="18" y="65"/>
                    <a:pt x="17" y="23"/>
                    <a:pt x="31" y="14"/>
                  </a:cubicBezTo>
                  <a:cubicBezTo>
                    <a:pt x="37" y="11"/>
                    <a:pt x="57" y="8"/>
                    <a:pt x="77" y="9"/>
                  </a:cubicBezTo>
                  <a:lnTo>
                    <a:pt x="78" y="2"/>
                  </a:lnTo>
                  <a:close/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97"/>
            <p:cNvSpPr>
              <a:spLocks/>
            </p:cNvSpPr>
            <p:nvPr/>
          </p:nvSpPr>
          <p:spPr bwMode="auto">
            <a:xfrm>
              <a:off x="3908425" y="3271044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9 h 179"/>
                <a:gd name="T4" fmla="*/ 71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9"/>
                  </a:lnTo>
                  <a:lnTo>
                    <a:pt x="71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98"/>
            <p:cNvSpPr>
              <a:spLocks/>
            </p:cNvSpPr>
            <p:nvPr/>
          </p:nvSpPr>
          <p:spPr bwMode="auto">
            <a:xfrm>
              <a:off x="3908425" y="3271044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9 h 179"/>
                <a:gd name="T4" fmla="*/ 71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9"/>
                  </a:lnTo>
                  <a:lnTo>
                    <a:pt x="71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99"/>
            <p:cNvSpPr>
              <a:spLocks/>
            </p:cNvSpPr>
            <p:nvPr/>
          </p:nvSpPr>
          <p:spPr bwMode="auto">
            <a:xfrm>
              <a:off x="3775075" y="3266282"/>
              <a:ext cx="266700" cy="171450"/>
            </a:xfrm>
            <a:custGeom>
              <a:avLst/>
              <a:gdLst>
                <a:gd name="T0" fmla="*/ 168 w 168"/>
                <a:gd name="T1" fmla="*/ 0 h 108"/>
                <a:gd name="T2" fmla="*/ 84 w 168"/>
                <a:gd name="T3" fmla="*/ 105 h 108"/>
                <a:gd name="T4" fmla="*/ 0 w 168"/>
                <a:gd name="T5" fmla="*/ 0 h 108"/>
                <a:gd name="T6" fmla="*/ 0 w 168"/>
                <a:gd name="T7" fmla="*/ 3 h 108"/>
                <a:gd name="T8" fmla="*/ 84 w 168"/>
                <a:gd name="T9" fmla="*/ 108 h 108"/>
                <a:gd name="T10" fmla="*/ 168 w 168"/>
                <a:gd name="T11" fmla="*/ 3 h 108"/>
                <a:gd name="T12" fmla="*/ 168 w 168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08">
                  <a:moveTo>
                    <a:pt x="168" y="0"/>
                  </a:moveTo>
                  <a:lnTo>
                    <a:pt x="84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4" y="108"/>
                  </a:lnTo>
                  <a:lnTo>
                    <a:pt x="168" y="3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F2D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200"/>
            <p:cNvSpPr>
              <a:spLocks/>
            </p:cNvSpPr>
            <p:nvPr/>
          </p:nvSpPr>
          <p:spPr bwMode="auto">
            <a:xfrm>
              <a:off x="3775075" y="3266282"/>
              <a:ext cx="266700" cy="171450"/>
            </a:xfrm>
            <a:custGeom>
              <a:avLst/>
              <a:gdLst>
                <a:gd name="T0" fmla="*/ 168 w 168"/>
                <a:gd name="T1" fmla="*/ 0 h 108"/>
                <a:gd name="T2" fmla="*/ 84 w 168"/>
                <a:gd name="T3" fmla="*/ 105 h 108"/>
                <a:gd name="T4" fmla="*/ 0 w 168"/>
                <a:gd name="T5" fmla="*/ 0 h 108"/>
                <a:gd name="T6" fmla="*/ 0 w 168"/>
                <a:gd name="T7" fmla="*/ 3 h 108"/>
                <a:gd name="T8" fmla="*/ 84 w 168"/>
                <a:gd name="T9" fmla="*/ 108 h 108"/>
                <a:gd name="T10" fmla="*/ 168 w 168"/>
                <a:gd name="T11" fmla="*/ 3 h 108"/>
                <a:gd name="T12" fmla="*/ 168 w 168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08">
                  <a:moveTo>
                    <a:pt x="168" y="0"/>
                  </a:moveTo>
                  <a:lnTo>
                    <a:pt x="84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4" y="108"/>
                  </a:lnTo>
                  <a:lnTo>
                    <a:pt x="168" y="3"/>
                  </a:lnTo>
                  <a:lnTo>
                    <a:pt x="1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201"/>
            <p:cNvSpPr>
              <a:spLocks/>
            </p:cNvSpPr>
            <p:nvPr/>
          </p:nvSpPr>
          <p:spPr bwMode="auto">
            <a:xfrm>
              <a:off x="3933825" y="3550444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02"/>
            <p:cNvSpPr>
              <a:spLocks/>
            </p:cNvSpPr>
            <p:nvPr/>
          </p:nvSpPr>
          <p:spPr bwMode="auto">
            <a:xfrm>
              <a:off x="3933825" y="3550444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03"/>
            <p:cNvSpPr>
              <a:spLocks/>
            </p:cNvSpPr>
            <p:nvPr/>
          </p:nvSpPr>
          <p:spPr bwMode="auto">
            <a:xfrm>
              <a:off x="3883025" y="3550444"/>
              <a:ext cx="52388" cy="1588"/>
            </a:xfrm>
            <a:custGeom>
              <a:avLst/>
              <a:gdLst>
                <a:gd name="T0" fmla="*/ 32 w 33"/>
                <a:gd name="T1" fmla="*/ 0 h 1"/>
                <a:gd name="T2" fmla="*/ 0 w 33"/>
                <a:gd name="T3" fmla="*/ 0 h 1"/>
                <a:gd name="T4" fmla="*/ 0 w 33"/>
                <a:gd name="T5" fmla="*/ 1 h 1"/>
                <a:gd name="T6" fmla="*/ 33 w 33"/>
                <a:gd name="T7" fmla="*/ 1 h 1"/>
                <a:gd name="T8" fmla="*/ 32 w 3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">
                  <a:moveTo>
                    <a:pt x="3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33" y="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532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04"/>
            <p:cNvSpPr>
              <a:spLocks/>
            </p:cNvSpPr>
            <p:nvPr/>
          </p:nvSpPr>
          <p:spPr bwMode="auto">
            <a:xfrm>
              <a:off x="3883025" y="3550444"/>
              <a:ext cx="52388" cy="1588"/>
            </a:xfrm>
            <a:custGeom>
              <a:avLst/>
              <a:gdLst>
                <a:gd name="T0" fmla="*/ 32 w 33"/>
                <a:gd name="T1" fmla="*/ 0 h 1"/>
                <a:gd name="T2" fmla="*/ 0 w 33"/>
                <a:gd name="T3" fmla="*/ 0 h 1"/>
                <a:gd name="T4" fmla="*/ 0 w 33"/>
                <a:gd name="T5" fmla="*/ 1 h 1"/>
                <a:gd name="T6" fmla="*/ 33 w 33"/>
                <a:gd name="T7" fmla="*/ 1 h 1"/>
                <a:gd name="T8" fmla="*/ 32 w 3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">
                  <a:moveTo>
                    <a:pt x="3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33" y="1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6"/>
            <p:cNvSpPr>
              <a:spLocks/>
            </p:cNvSpPr>
            <p:nvPr/>
          </p:nvSpPr>
          <p:spPr bwMode="auto">
            <a:xfrm>
              <a:off x="3971925" y="3472656"/>
              <a:ext cx="1246188" cy="565150"/>
            </a:xfrm>
            <a:custGeom>
              <a:avLst/>
              <a:gdLst>
                <a:gd name="T0" fmla="*/ 310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09 w 777"/>
                <a:gd name="T11" fmla="*/ 133 h 352"/>
                <a:gd name="T12" fmla="*/ 468 w 777"/>
                <a:gd name="T13" fmla="*/ 1 h 352"/>
                <a:gd name="T14" fmla="*/ 310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0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09" y="133"/>
                  </a:cubicBezTo>
                  <a:cubicBezTo>
                    <a:pt x="689" y="115"/>
                    <a:pt x="639" y="76"/>
                    <a:pt x="468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7"/>
            <p:cNvSpPr>
              <a:spLocks/>
            </p:cNvSpPr>
            <p:nvPr/>
          </p:nvSpPr>
          <p:spPr bwMode="auto">
            <a:xfrm>
              <a:off x="3971925" y="3472656"/>
              <a:ext cx="1246188" cy="565150"/>
            </a:xfrm>
            <a:custGeom>
              <a:avLst/>
              <a:gdLst>
                <a:gd name="T0" fmla="*/ 310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09 w 777"/>
                <a:gd name="T11" fmla="*/ 133 h 352"/>
                <a:gd name="T12" fmla="*/ 468 w 777"/>
                <a:gd name="T13" fmla="*/ 1 h 352"/>
                <a:gd name="T14" fmla="*/ 310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0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09" y="133"/>
                  </a:cubicBezTo>
                  <a:cubicBezTo>
                    <a:pt x="689" y="115"/>
                    <a:pt x="639" y="76"/>
                    <a:pt x="468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8"/>
            <p:cNvSpPr>
              <a:spLocks/>
            </p:cNvSpPr>
            <p:nvPr/>
          </p:nvSpPr>
          <p:spPr bwMode="auto">
            <a:xfrm>
              <a:off x="4460875" y="3066256"/>
              <a:ext cx="268288" cy="560388"/>
            </a:xfrm>
            <a:custGeom>
              <a:avLst/>
              <a:gdLst>
                <a:gd name="T0" fmla="*/ 0 w 167"/>
                <a:gd name="T1" fmla="*/ 103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3 h 349"/>
                <a:gd name="T12" fmla="*/ 0 w 167"/>
                <a:gd name="T13" fmla="*/ 10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3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3"/>
                    <a:pt x="167" y="103"/>
                    <a:pt x="167" y="103"/>
                  </a:cubicBezTo>
                  <a:cubicBezTo>
                    <a:pt x="167" y="0"/>
                    <a:pt x="0" y="0"/>
                    <a:pt x="0" y="103"/>
                  </a:cubicBezTo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09"/>
            <p:cNvSpPr>
              <a:spLocks/>
            </p:cNvSpPr>
            <p:nvPr/>
          </p:nvSpPr>
          <p:spPr bwMode="auto">
            <a:xfrm>
              <a:off x="4283075" y="3031331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2 w 70"/>
                <a:gd name="T3" fmla="*/ 42 h 102"/>
                <a:gd name="T4" fmla="*/ 51 w 70"/>
                <a:gd name="T5" fmla="*/ 97 h 102"/>
                <a:gd name="T6" fmla="*/ 9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5" y="0"/>
                    <a:pt x="54" y="17"/>
                    <a:pt x="62" y="42"/>
                  </a:cubicBezTo>
                  <a:cubicBezTo>
                    <a:pt x="70" y="68"/>
                    <a:pt x="65" y="92"/>
                    <a:pt x="51" y="97"/>
                  </a:cubicBezTo>
                  <a:cubicBezTo>
                    <a:pt x="36" y="102"/>
                    <a:pt x="17" y="85"/>
                    <a:pt x="9" y="60"/>
                  </a:cubicBezTo>
                  <a:cubicBezTo>
                    <a:pt x="0" y="34"/>
                    <a:pt x="6" y="10"/>
                    <a:pt x="20" y="5"/>
                  </a:cubicBezTo>
                  <a:close/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10"/>
            <p:cNvSpPr>
              <a:spLocks/>
            </p:cNvSpPr>
            <p:nvPr/>
          </p:nvSpPr>
          <p:spPr bwMode="auto">
            <a:xfrm>
              <a:off x="4791075" y="3031331"/>
              <a:ext cx="112713" cy="163513"/>
            </a:xfrm>
            <a:custGeom>
              <a:avLst/>
              <a:gdLst>
                <a:gd name="T0" fmla="*/ 50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8"/>
                    <a:pt x="5" y="92"/>
                    <a:pt x="20" y="97"/>
                  </a:cubicBezTo>
                  <a:cubicBezTo>
                    <a:pt x="35" y="102"/>
                    <a:pt x="53" y="85"/>
                    <a:pt x="62" y="60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11"/>
            <p:cNvSpPr>
              <a:spLocks/>
            </p:cNvSpPr>
            <p:nvPr/>
          </p:nvSpPr>
          <p:spPr bwMode="auto">
            <a:xfrm>
              <a:off x="4408488" y="3602831"/>
              <a:ext cx="354013" cy="434975"/>
            </a:xfrm>
            <a:custGeom>
              <a:avLst/>
              <a:gdLst>
                <a:gd name="T0" fmla="*/ 117 w 221"/>
                <a:gd name="T1" fmla="*/ 0 h 271"/>
                <a:gd name="T2" fmla="*/ 0 w 221"/>
                <a:gd name="T3" fmla="*/ 35 h 271"/>
                <a:gd name="T4" fmla="*/ 45 w 221"/>
                <a:gd name="T5" fmla="*/ 271 h 271"/>
                <a:gd name="T6" fmla="*/ 202 w 221"/>
                <a:gd name="T7" fmla="*/ 271 h 271"/>
                <a:gd name="T8" fmla="*/ 221 w 221"/>
                <a:gd name="T9" fmla="*/ 36 h 271"/>
                <a:gd name="T10" fmla="*/ 117 w 221"/>
                <a:gd name="T11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1" h="271">
                  <a:moveTo>
                    <a:pt x="117" y="0"/>
                  </a:moveTo>
                  <a:cubicBezTo>
                    <a:pt x="117" y="0"/>
                    <a:pt x="0" y="28"/>
                    <a:pt x="0" y="35"/>
                  </a:cubicBezTo>
                  <a:cubicBezTo>
                    <a:pt x="0" y="42"/>
                    <a:pt x="45" y="271"/>
                    <a:pt x="45" y="271"/>
                  </a:cubicBezTo>
                  <a:cubicBezTo>
                    <a:pt x="202" y="271"/>
                    <a:pt x="202" y="271"/>
                    <a:pt x="202" y="271"/>
                  </a:cubicBezTo>
                  <a:cubicBezTo>
                    <a:pt x="221" y="36"/>
                    <a:pt x="221" y="36"/>
                    <a:pt x="221" y="36"/>
                  </a:cubicBezTo>
                  <a:cubicBezTo>
                    <a:pt x="117" y="0"/>
                    <a:pt x="117" y="0"/>
                    <a:pt x="117" y="0"/>
                  </a:cubicBezTo>
                </a:path>
              </a:pathLst>
            </a:custGeom>
            <a:solidFill>
              <a:srgbClr val="9FBA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12"/>
            <p:cNvSpPr>
              <a:spLocks/>
            </p:cNvSpPr>
            <p:nvPr/>
          </p:nvSpPr>
          <p:spPr bwMode="auto">
            <a:xfrm>
              <a:off x="4286250" y="3475831"/>
              <a:ext cx="233363" cy="561975"/>
            </a:xfrm>
            <a:custGeom>
              <a:avLst/>
              <a:gdLst>
                <a:gd name="T0" fmla="*/ 110 w 147"/>
                <a:gd name="T1" fmla="*/ 0 h 354"/>
                <a:gd name="T2" fmla="*/ 110 w 147"/>
                <a:gd name="T3" fmla="*/ 38 h 354"/>
                <a:gd name="T4" fmla="*/ 147 w 147"/>
                <a:gd name="T5" fmla="*/ 354 h 354"/>
                <a:gd name="T6" fmla="*/ 84 w 147"/>
                <a:gd name="T7" fmla="*/ 354 h 354"/>
                <a:gd name="T8" fmla="*/ 14 w 147"/>
                <a:gd name="T9" fmla="*/ 213 h 354"/>
                <a:gd name="T10" fmla="*/ 81 w 147"/>
                <a:gd name="T11" fmla="*/ 170 h 354"/>
                <a:gd name="T12" fmla="*/ 0 w 147"/>
                <a:gd name="T13" fmla="*/ 131 h 354"/>
                <a:gd name="T14" fmla="*/ 74 w 147"/>
                <a:gd name="T15" fmla="*/ 16 h 354"/>
                <a:gd name="T16" fmla="*/ 110 w 147"/>
                <a:gd name="T1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54">
                  <a:moveTo>
                    <a:pt x="110" y="0"/>
                  </a:moveTo>
                  <a:lnTo>
                    <a:pt x="110" y="38"/>
                  </a:lnTo>
                  <a:lnTo>
                    <a:pt x="147" y="354"/>
                  </a:lnTo>
                  <a:lnTo>
                    <a:pt x="84" y="354"/>
                  </a:lnTo>
                  <a:lnTo>
                    <a:pt x="14" y="213"/>
                  </a:lnTo>
                  <a:lnTo>
                    <a:pt x="81" y="170"/>
                  </a:lnTo>
                  <a:lnTo>
                    <a:pt x="0" y="131"/>
                  </a:lnTo>
                  <a:lnTo>
                    <a:pt x="74" y="16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13"/>
            <p:cNvSpPr>
              <a:spLocks/>
            </p:cNvSpPr>
            <p:nvPr/>
          </p:nvSpPr>
          <p:spPr bwMode="auto">
            <a:xfrm>
              <a:off x="4670425" y="3475831"/>
              <a:ext cx="231775" cy="561975"/>
            </a:xfrm>
            <a:custGeom>
              <a:avLst/>
              <a:gdLst>
                <a:gd name="T0" fmla="*/ 37 w 146"/>
                <a:gd name="T1" fmla="*/ 0 h 354"/>
                <a:gd name="T2" fmla="*/ 37 w 146"/>
                <a:gd name="T3" fmla="*/ 38 h 354"/>
                <a:gd name="T4" fmla="*/ 0 w 146"/>
                <a:gd name="T5" fmla="*/ 354 h 354"/>
                <a:gd name="T6" fmla="*/ 62 w 146"/>
                <a:gd name="T7" fmla="*/ 354 h 354"/>
                <a:gd name="T8" fmla="*/ 132 w 146"/>
                <a:gd name="T9" fmla="*/ 213 h 354"/>
                <a:gd name="T10" fmla="*/ 65 w 146"/>
                <a:gd name="T11" fmla="*/ 170 h 354"/>
                <a:gd name="T12" fmla="*/ 146 w 146"/>
                <a:gd name="T13" fmla="*/ 131 h 354"/>
                <a:gd name="T14" fmla="*/ 80 w 146"/>
                <a:gd name="T15" fmla="*/ 20 h 354"/>
                <a:gd name="T16" fmla="*/ 37 w 146"/>
                <a:gd name="T1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354">
                  <a:moveTo>
                    <a:pt x="37" y="0"/>
                  </a:moveTo>
                  <a:lnTo>
                    <a:pt x="37" y="38"/>
                  </a:lnTo>
                  <a:lnTo>
                    <a:pt x="0" y="354"/>
                  </a:lnTo>
                  <a:lnTo>
                    <a:pt x="62" y="354"/>
                  </a:lnTo>
                  <a:lnTo>
                    <a:pt x="132" y="213"/>
                  </a:lnTo>
                  <a:lnTo>
                    <a:pt x="65" y="170"/>
                  </a:lnTo>
                  <a:lnTo>
                    <a:pt x="146" y="131"/>
                  </a:lnTo>
                  <a:lnTo>
                    <a:pt x="80" y="2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1B1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14"/>
            <p:cNvSpPr>
              <a:spLocks/>
            </p:cNvSpPr>
            <p:nvPr/>
          </p:nvSpPr>
          <p:spPr bwMode="auto">
            <a:xfrm>
              <a:off x="4537075" y="3602831"/>
              <a:ext cx="114300" cy="111125"/>
            </a:xfrm>
            <a:custGeom>
              <a:avLst/>
              <a:gdLst>
                <a:gd name="T0" fmla="*/ 0 w 72"/>
                <a:gd name="T1" fmla="*/ 39 h 70"/>
                <a:gd name="T2" fmla="*/ 20 w 72"/>
                <a:gd name="T3" fmla="*/ 70 h 70"/>
                <a:gd name="T4" fmla="*/ 52 w 72"/>
                <a:gd name="T5" fmla="*/ 70 h 70"/>
                <a:gd name="T6" fmla="*/ 72 w 72"/>
                <a:gd name="T7" fmla="*/ 39 h 70"/>
                <a:gd name="T8" fmla="*/ 37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0" y="70"/>
                    <a:pt x="20" y="70"/>
                    <a:pt x="20" y="70"/>
                  </a:cubicBezTo>
                  <a:cubicBezTo>
                    <a:pt x="31" y="70"/>
                    <a:pt x="41" y="70"/>
                    <a:pt x="52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28A8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15"/>
            <p:cNvSpPr>
              <a:spLocks/>
            </p:cNvSpPr>
            <p:nvPr/>
          </p:nvSpPr>
          <p:spPr bwMode="auto">
            <a:xfrm>
              <a:off x="4524375" y="3713956"/>
              <a:ext cx="142875" cy="323850"/>
            </a:xfrm>
            <a:custGeom>
              <a:avLst/>
              <a:gdLst>
                <a:gd name="T0" fmla="*/ 28 w 90"/>
                <a:gd name="T1" fmla="*/ 0 h 204"/>
                <a:gd name="T2" fmla="*/ 0 w 90"/>
                <a:gd name="T3" fmla="*/ 204 h 204"/>
                <a:gd name="T4" fmla="*/ 90 w 90"/>
                <a:gd name="T5" fmla="*/ 204 h 204"/>
                <a:gd name="T6" fmla="*/ 60 w 90"/>
                <a:gd name="T7" fmla="*/ 0 h 204"/>
                <a:gd name="T8" fmla="*/ 28 w 90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4">
                  <a:moveTo>
                    <a:pt x="28" y="0"/>
                  </a:moveTo>
                  <a:lnTo>
                    <a:pt x="0" y="204"/>
                  </a:lnTo>
                  <a:lnTo>
                    <a:pt x="90" y="204"/>
                  </a:lnTo>
                  <a:lnTo>
                    <a:pt x="60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28A8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16"/>
            <p:cNvSpPr>
              <a:spLocks/>
            </p:cNvSpPr>
            <p:nvPr/>
          </p:nvSpPr>
          <p:spPr bwMode="auto">
            <a:xfrm>
              <a:off x="4524375" y="3713956"/>
              <a:ext cx="142875" cy="323850"/>
            </a:xfrm>
            <a:custGeom>
              <a:avLst/>
              <a:gdLst>
                <a:gd name="T0" fmla="*/ 28 w 90"/>
                <a:gd name="T1" fmla="*/ 0 h 204"/>
                <a:gd name="T2" fmla="*/ 0 w 90"/>
                <a:gd name="T3" fmla="*/ 204 h 204"/>
                <a:gd name="T4" fmla="*/ 90 w 90"/>
                <a:gd name="T5" fmla="*/ 204 h 204"/>
                <a:gd name="T6" fmla="*/ 60 w 90"/>
                <a:gd name="T7" fmla="*/ 0 h 204"/>
                <a:gd name="T8" fmla="*/ 28 w 90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4">
                  <a:moveTo>
                    <a:pt x="28" y="0"/>
                  </a:moveTo>
                  <a:lnTo>
                    <a:pt x="0" y="204"/>
                  </a:lnTo>
                  <a:lnTo>
                    <a:pt x="90" y="204"/>
                  </a:lnTo>
                  <a:lnTo>
                    <a:pt x="60" y="0"/>
                  </a:lnTo>
                  <a:lnTo>
                    <a:pt x="2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7"/>
            <p:cNvSpPr>
              <a:spLocks/>
            </p:cNvSpPr>
            <p:nvPr/>
          </p:nvSpPr>
          <p:spPr bwMode="auto">
            <a:xfrm>
              <a:off x="4448175" y="3434556"/>
              <a:ext cx="147638" cy="282575"/>
            </a:xfrm>
            <a:custGeom>
              <a:avLst/>
              <a:gdLst>
                <a:gd name="T0" fmla="*/ 8 w 93"/>
                <a:gd name="T1" fmla="*/ 0 h 178"/>
                <a:gd name="T2" fmla="*/ 0 w 93"/>
                <a:gd name="T3" fmla="*/ 29 h 178"/>
                <a:gd name="T4" fmla="*/ 21 w 93"/>
                <a:gd name="T5" fmla="*/ 178 h 178"/>
                <a:gd name="T6" fmla="*/ 93 w 93"/>
                <a:gd name="T7" fmla="*/ 106 h 178"/>
                <a:gd name="T8" fmla="*/ 8 w 93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3" y="10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18"/>
            <p:cNvSpPr>
              <a:spLocks/>
            </p:cNvSpPr>
            <p:nvPr/>
          </p:nvSpPr>
          <p:spPr bwMode="auto">
            <a:xfrm>
              <a:off x="4448175" y="3434556"/>
              <a:ext cx="147638" cy="282575"/>
            </a:xfrm>
            <a:custGeom>
              <a:avLst/>
              <a:gdLst>
                <a:gd name="T0" fmla="*/ 8 w 93"/>
                <a:gd name="T1" fmla="*/ 0 h 178"/>
                <a:gd name="T2" fmla="*/ 0 w 93"/>
                <a:gd name="T3" fmla="*/ 29 h 178"/>
                <a:gd name="T4" fmla="*/ 21 w 93"/>
                <a:gd name="T5" fmla="*/ 178 h 178"/>
                <a:gd name="T6" fmla="*/ 93 w 93"/>
                <a:gd name="T7" fmla="*/ 106 h 178"/>
                <a:gd name="T8" fmla="*/ 8 w 93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3" y="106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19"/>
            <p:cNvSpPr>
              <a:spLocks/>
            </p:cNvSpPr>
            <p:nvPr/>
          </p:nvSpPr>
          <p:spPr bwMode="auto">
            <a:xfrm>
              <a:off x="4460875" y="3378994"/>
              <a:ext cx="268288" cy="93663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2" y="56"/>
                    <a:pt x="83" y="58"/>
                  </a:cubicBezTo>
                  <a:cubicBezTo>
                    <a:pt x="84" y="58"/>
                    <a:pt x="84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9E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20"/>
            <p:cNvSpPr>
              <a:spLocks/>
            </p:cNvSpPr>
            <p:nvPr/>
          </p:nvSpPr>
          <p:spPr bwMode="auto">
            <a:xfrm>
              <a:off x="4183063" y="2682081"/>
              <a:ext cx="823913" cy="758825"/>
            </a:xfrm>
            <a:custGeom>
              <a:avLst/>
              <a:gdLst>
                <a:gd name="T0" fmla="*/ 256 w 513"/>
                <a:gd name="T1" fmla="*/ 0 h 473"/>
                <a:gd name="T2" fmla="*/ 115 w 513"/>
                <a:gd name="T3" fmla="*/ 378 h 473"/>
                <a:gd name="T4" fmla="*/ 256 w 513"/>
                <a:gd name="T5" fmla="*/ 473 h 473"/>
                <a:gd name="T6" fmla="*/ 398 w 513"/>
                <a:gd name="T7" fmla="*/ 378 h 473"/>
                <a:gd name="T8" fmla="*/ 256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6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3" y="408"/>
                    <a:pt x="215" y="473"/>
                    <a:pt x="256" y="473"/>
                  </a:cubicBezTo>
                  <a:cubicBezTo>
                    <a:pt x="298" y="473"/>
                    <a:pt x="379" y="408"/>
                    <a:pt x="398" y="378"/>
                  </a:cubicBezTo>
                  <a:cubicBezTo>
                    <a:pt x="414" y="351"/>
                    <a:pt x="513" y="0"/>
                    <a:pt x="256" y="0"/>
                  </a:cubicBezTo>
                  <a:close/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21"/>
            <p:cNvSpPr>
              <a:spLocks noEditPoints="1"/>
            </p:cNvSpPr>
            <p:nvPr/>
          </p:nvSpPr>
          <p:spPr bwMode="auto">
            <a:xfrm>
              <a:off x="4279900" y="2585244"/>
              <a:ext cx="647700" cy="584200"/>
            </a:xfrm>
            <a:custGeom>
              <a:avLst/>
              <a:gdLst>
                <a:gd name="T0" fmla="*/ 311 w 404"/>
                <a:gd name="T1" fmla="*/ 68 h 363"/>
                <a:gd name="T2" fmla="*/ 51 w 404"/>
                <a:gd name="T3" fmla="*/ 97 h 363"/>
                <a:gd name="T4" fmla="*/ 30 w 404"/>
                <a:gd name="T5" fmla="*/ 357 h 363"/>
                <a:gd name="T6" fmla="*/ 30 w 404"/>
                <a:gd name="T7" fmla="*/ 357 h 363"/>
                <a:gd name="T8" fmla="*/ 30 w 404"/>
                <a:gd name="T9" fmla="*/ 360 h 363"/>
                <a:gd name="T10" fmla="*/ 32 w 404"/>
                <a:gd name="T11" fmla="*/ 363 h 363"/>
                <a:gd name="T12" fmla="*/ 37 w 404"/>
                <a:gd name="T13" fmla="*/ 362 h 363"/>
                <a:gd name="T14" fmla="*/ 37 w 404"/>
                <a:gd name="T15" fmla="*/ 361 h 363"/>
                <a:gd name="T16" fmla="*/ 37 w 404"/>
                <a:gd name="T17" fmla="*/ 340 h 363"/>
                <a:gd name="T18" fmla="*/ 32 w 404"/>
                <a:gd name="T19" fmla="*/ 307 h 363"/>
                <a:gd name="T20" fmla="*/ 77 w 404"/>
                <a:gd name="T21" fmla="*/ 183 h 363"/>
                <a:gd name="T22" fmla="*/ 86 w 404"/>
                <a:gd name="T23" fmla="*/ 171 h 363"/>
                <a:gd name="T24" fmla="*/ 97 w 404"/>
                <a:gd name="T25" fmla="*/ 159 h 363"/>
                <a:gd name="T26" fmla="*/ 103 w 404"/>
                <a:gd name="T27" fmla="*/ 154 h 363"/>
                <a:gd name="T28" fmla="*/ 242 w 404"/>
                <a:gd name="T29" fmla="*/ 176 h 363"/>
                <a:gd name="T30" fmla="*/ 296 w 404"/>
                <a:gd name="T31" fmla="*/ 189 h 363"/>
                <a:gd name="T32" fmla="*/ 311 w 404"/>
                <a:gd name="T33" fmla="*/ 177 h 363"/>
                <a:gd name="T34" fmla="*/ 359 w 404"/>
                <a:gd name="T35" fmla="*/ 315 h 363"/>
                <a:gd name="T36" fmla="*/ 356 w 404"/>
                <a:gd name="T37" fmla="*/ 340 h 363"/>
                <a:gd name="T38" fmla="*/ 356 w 404"/>
                <a:gd name="T39" fmla="*/ 361 h 363"/>
                <a:gd name="T40" fmla="*/ 356 w 404"/>
                <a:gd name="T41" fmla="*/ 362 h 363"/>
                <a:gd name="T42" fmla="*/ 361 w 404"/>
                <a:gd name="T43" fmla="*/ 363 h 363"/>
                <a:gd name="T44" fmla="*/ 363 w 404"/>
                <a:gd name="T45" fmla="*/ 360 h 363"/>
                <a:gd name="T46" fmla="*/ 364 w 404"/>
                <a:gd name="T47" fmla="*/ 351 h 363"/>
                <a:gd name="T48" fmla="*/ 366 w 404"/>
                <a:gd name="T49" fmla="*/ 338 h 363"/>
                <a:gd name="T50" fmla="*/ 311 w 404"/>
                <a:gd name="T51" fmla="*/ 68 h 363"/>
                <a:gd name="T52" fmla="*/ 180 w 404"/>
                <a:gd name="T53" fmla="*/ 135 h 363"/>
                <a:gd name="T54" fmla="*/ 176 w 404"/>
                <a:gd name="T55" fmla="*/ 134 h 363"/>
                <a:gd name="T56" fmla="*/ 182 w 404"/>
                <a:gd name="T57" fmla="*/ 135 h 363"/>
                <a:gd name="T58" fmla="*/ 180 w 404"/>
                <a:gd name="T59" fmla="*/ 1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4" h="363">
                  <a:moveTo>
                    <a:pt x="311" y="68"/>
                  </a:moveTo>
                  <a:cubicBezTo>
                    <a:pt x="225" y="0"/>
                    <a:pt x="91" y="41"/>
                    <a:pt x="51" y="97"/>
                  </a:cubicBezTo>
                  <a:cubicBezTo>
                    <a:pt x="0" y="168"/>
                    <a:pt x="18" y="276"/>
                    <a:pt x="30" y="357"/>
                  </a:cubicBezTo>
                  <a:cubicBezTo>
                    <a:pt x="30" y="357"/>
                    <a:pt x="30" y="357"/>
                    <a:pt x="30" y="357"/>
                  </a:cubicBezTo>
                  <a:cubicBezTo>
                    <a:pt x="30" y="358"/>
                    <a:pt x="30" y="359"/>
                    <a:pt x="30" y="360"/>
                  </a:cubicBezTo>
                  <a:cubicBezTo>
                    <a:pt x="31" y="360"/>
                    <a:pt x="32" y="362"/>
                    <a:pt x="32" y="363"/>
                  </a:cubicBezTo>
                  <a:cubicBezTo>
                    <a:pt x="33" y="363"/>
                    <a:pt x="36" y="363"/>
                    <a:pt x="37" y="362"/>
                  </a:cubicBezTo>
                  <a:cubicBezTo>
                    <a:pt x="37" y="362"/>
                    <a:pt x="37" y="361"/>
                    <a:pt x="37" y="361"/>
                  </a:cubicBezTo>
                  <a:cubicBezTo>
                    <a:pt x="38" y="354"/>
                    <a:pt x="37" y="340"/>
                    <a:pt x="37" y="340"/>
                  </a:cubicBezTo>
                  <a:cubicBezTo>
                    <a:pt x="37" y="328"/>
                    <a:pt x="34" y="318"/>
                    <a:pt x="32" y="307"/>
                  </a:cubicBezTo>
                  <a:cubicBezTo>
                    <a:pt x="41" y="256"/>
                    <a:pt x="65" y="245"/>
                    <a:pt x="77" y="183"/>
                  </a:cubicBezTo>
                  <a:cubicBezTo>
                    <a:pt x="80" y="179"/>
                    <a:pt x="83" y="175"/>
                    <a:pt x="86" y="171"/>
                  </a:cubicBezTo>
                  <a:cubicBezTo>
                    <a:pt x="89" y="167"/>
                    <a:pt x="93" y="162"/>
                    <a:pt x="97" y="159"/>
                  </a:cubicBezTo>
                  <a:cubicBezTo>
                    <a:pt x="99" y="157"/>
                    <a:pt x="101" y="156"/>
                    <a:pt x="103" y="154"/>
                  </a:cubicBezTo>
                  <a:cubicBezTo>
                    <a:pt x="150" y="137"/>
                    <a:pt x="198" y="158"/>
                    <a:pt x="242" y="176"/>
                  </a:cubicBezTo>
                  <a:cubicBezTo>
                    <a:pt x="259" y="182"/>
                    <a:pt x="278" y="191"/>
                    <a:pt x="296" y="189"/>
                  </a:cubicBezTo>
                  <a:cubicBezTo>
                    <a:pt x="304" y="189"/>
                    <a:pt x="310" y="183"/>
                    <a:pt x="311" y="177"/>
                  </a:cubicBezTo>
                  <a:cubicBezTo>
                    <a:pt x="332" y="240"/>
                    <a:pt x="349" y="269"/>
                    <a:pt x="359" y="315"/>
                  </a:cubicBezTo>
                  <a:cubicBezTo>
                    <a:pt x="358" y="323"/>
                    <a:pt x="356" y="331"/>
                    <a:pt x="356" y="340"/>
                  </a:cubicBezTo>
                  <a:cubicBezTo>
                    <a:pt x="356" y="340"/>
                    <a:pt x="355" y="354"/>
                    <a:pt x="356" y="361"/>
                  </a:cubicBezTo>
                  <a:cubicBezTo>
                    <a:pt x="356" y="361"/>
                    <a:pt x="356" y="362"/>
                    <a:pt x="356" y="362"/>
                  </a:cubicBezTo>
                  <a:cubicBezTo>
                    <a:pt x="357" y="363"/>
                    <a:pt x="360" y="363"/>
                    <a:pt x="361" y="363"/>
                  </a:cubicBezTo>
                  <a:cubicBezTo>
                    <a:pt x="361" y="362"/>
                    <a:pt x="363" y="360"/>
                    <a:pt x="363" y="360"/>
                  </a:cubicBezTo>
                  <a:cubicBezTo>
                    <a:pt x="364" y="357"/>
                    <a:pt x="364" y="354"/>
                    <a:pt x="364" y="351"/>
                  </a:cubicBezTo>
                  <a:cubicBezTo>
                    <a:pt x="364" y="347"/>
                    <a:pt x="365" y="342"/>
                    <a:pt x="366" y="338"/>
                  </a:cubicBezTo>
                  <a:cubicBezTo>
                    <a:pt x="379" y="288"/>
                    <a:pt x="404" y="90"/>
                    <a:pt x="311" y="68"/>
                  </a:cubicBezTo>
                  <a:close/>
                  <a:moveTo>
                    <a:pt x="180" y="135"/>
                  </a:moveTo>
                  <a:cubicBezTo>
                    <a:pt x="179" y="135"/>
                    <a:pt x="177" y="134"/>
                    <a:pt x="176" y="134"/>
                  </a:cubicBezTo>
                  <a:cubicBezTo>
                    <a:pt x="178" y="134"/>
                    <a:pt x="180" y="135"/>
                    <a:pt x="182" y="135"/>
                  </a:cubicBezTo>
                  <a:cubicBezTo>
                    <a:pt x="181" y="135"/>
                    <a:pt x="181" y="135"/>
                    <a:pt x="180" y="135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22"/>
            <p:cNvSpPr>
              <a:spLocks/>
            </p:cNvSpPr>
            <p:nvPr/>
          </p:nvSpPr>
          <p:spPr bwMode="auto">
            <a:xfrm>
              <a:off x="4595813" y="3434556"/>
              <a:ext cx="141288" cy="285750"/>
            </a:xfrm>
            <a:custGeom>
              <a:avLst/>
              <a:gdLst>
                <a:gd name="T0" fmla="*/ 84 w 89"/>
                <a:gd name="T1" fmla="*/ 0 h 180"/>
                <a:gd name="T2" fmla="*/ 89 w 89"/>
                <a:gd name="T3" fmla="*/ 29 h 180"/>
                <a:gd name="T4" fmla="*/ 70 w 89"/>
                <a:gd name="T5" fmla="*/ 180 h 180"/>
                <a:gd name="T6" fmla="*/ 0 w 89"/>
                <a:gd name="T7" fmla="*/ 106 h 180"/>
                <a:gd name="T8" fmla="*/ 84 w 89"/>
                <a:gd name="T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80">
                  <a:moveTo>
                    <a:pt x="84" y="0"/>
                  </a:moveTo>
                  <a:lnTo>
                    <a:pt x="89" y="29"/>
                  </a:lnTo>
                  <a:lnTo>
                    <a:pt x="70" y="180"/>
                  </a:lnTo>
                  <a:lnTo>
                    <a:pt x="0" y="106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23"/>
            <p:cNvSpPr>
              <a:spLocks/>
            </p:cNvSpPr>
            <p:nvPr/>
          </p:nvSpPr>
          <p:spPr bwMode="auto">
            <a:xfrm>
              <a:off x="4595813" y="3434556"/>
              <a:ext cx="141288" cy="285750"/>
            </a:xfrm>
            <a:custGeom>
              <a:avLst/>
              <a:gdLst>
                <a:gd name="T0" fmla="*/ 84 w 89"/>
                <a:gd name="T1" fmla="*/ 0 h 180"/>
                <a:gd name="T2" fmla="*/ 89 w 89"/>
                <a:gd name="T3" fmla="*/ 29 h 180"/>
                <a:gd name="T4" fmla="*/ 70 w 89"/>
                <a:gd name="T5" fmla="*/ 180 h 180"/>
                <a:gd name="T6" fmla="*/ 0 w 89"/>
                <a:gd name="T7" fmla="*/ 106 h 180"/>
                <a:gd name="T8" fmla="*/ 84 w 89"/>
                <a:gd name="T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80">
                  <a:moveTo>
                    <a:pt x="84" y="0"/>
                  </a:moveTo>
                  <a:lnTo>
                    <a:pt x="89" y="29"/>
                  </a:lnTo>
                  <a:lnTo>
                    <a:pt x="70" y="180"/>
                  </a:lnTo>
                  <a:lnTo>
                    <a:pt x="0" y="106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24"/>
            <p:cNvSpPr>
              <a:spLocks/>
            </p:cNvSpPr>
            <p:nvPr/>
          </p:nvSpPr>
          <p:spPr bwMode="auto">
            <a:xfrm>
              <a:off x="4460875" y="3431381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2 h 108"/>
                <a:gd name="T8" fmla="*/ 85 w 169"/>
                <a:gd name="T9" fmla="*/ 108 h 108"/>
                <a:gd name="T10" fmla="*/ 169 w 169"/>
                <a:gd name="T11" fmla="*/ 2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2"/>
                  </a:lnTo>
                  <a:lnTo>
                    <a:pt x="85" y="108"/>
                  </a:lnTo>
                  <a:lnTo>
                    <a:pt x="169" y="2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E9BB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25"/>
            <p:cNvSpPr>
              <a:spLocks/>
            </p:cNvSpPr>
            <p:nvPr/>
          </p:nvSpPr>
          <p:spPr bwMode="auto">
            <a:xfrm>
              <a:off x="4460875" y="3431381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2 h 108"/>
                <a:gd name="T8" fmla="*/ 85 w 169"/>
                <a:gd name="T9" fmla="*/ 108 h 108"/>
                <a:gd name="T10" fmla="*/ 169 w 169"/>
                <a:gd name="T11" fmla="*/ 2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2"/>
                  </a:lnTo>
                  <a:lnTo>
                    <a:pt x="85" y="108"/>
                  </a:lnTo>
                  <a:lnTo>
                    <a:pt x="169" y="2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226"/>
            <p:cNvSpPr>
              <a:spLocks noEditPoints="1"/>
            </p:cNvSpPr>
            <p:nvPr/>
          </p:nvSpPr>
          <p:spPr bwMode="auto">
            <a:xfrm>
              <a:off x="4568825" y="3713956"/>
              <a:ext cx="50800" cy="1588"/>
            </a:xfrm>
            <a:custGeom>
              <a:avLst/>
              <a:gdLst>
                <a:gd name="T0" fmla="*/ 0 w 32"/>
                <a:gd name="T1" fmla="*/ 0 h 1"/>
                <a:gd name="T2" fmla="*/ 0 w 32"/>
                <a:gd name="T3" fmla="*/ 1 h 1"/>
                <a:gd name="T4" fmla="*/ 0 w 32"/>
                <a:gd name="T5" fmla="*/ 1 h 1"/>
                <a:gd name="T6" fmla="*/ 0 w 32"/>
                <a:gd name="T7" fmla="*/ 0 h 1"/>
                <a:gd name="T8" fmla="*/ 32 w 32"/>
                <a:gd name="T9" fmla="*/ 0 h 1"/>
                <a:gd name="T10" fmla="*/ 32 w 32"/>
                <a:gd name="T11" fmla="*/ 0 h 1"/>
                <a:gd name="T12" fmla="*/ 32 w 32"/>
                <a:gd name="T13" fmla="*/ 1 h 1"/>
                <a:gd name="T14" fmla="*/ 32 w 32"/>
                <a:gd name="T15" fmla="*/ 1 h 1"/>
                <a:gd name="T16" fmla="*/ 32 w 32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8F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27"/>
            <p:cNvSpPr>
              <a:spLocks noEditPoints="1"/>
            </p:cNvSpPr>
            <p:nvPr/>
          </p:nvSpPr>
          <p:spPr bwMode="auto">
            <a:xfrm>
              <a:off x="4568825" y="3713956"/>
              <a:ext cx="50800" cy="1588"/>
            </a:xfrm>
            <a:custGeom>
              <a:avLst/>
              <a:gdLst>
                <a:gd name="T0" fmla="*/ 0 w 32"/>
                <a:gd name="T1" fmla="*/ 0 h 1"/>
                <a:gd name="T2" fmla="*/ 0 w 32"/>
                <a:gd name="T3" fmla="*/ 1 h 1"/>
                <a:gd name="T4" fmla="*/ 0 w 32"/>
                <a:gd name="T5" fmla="*/ 1 h 1"/>
                <a:gd name="T6" fmla="*/ 0 w 32"/>
                <a:gd name="T7" fmla="*/ 0 h 1"/>
                <a:gd name="T8" fmla="*/ 32 w 32"/>
                <a:gd name="T9" fmla="*/ 0 h 1"/>
                <a:gd name="T10" fmla="*/ 32 w 32"/>
                <a:gd name="T11" fmla="*/ 0 h 1"/>
                <a:gd name="T12" fmla="*/ 32 w 32"/>
                <a:gd name="T13" fmla="*/ 1 h 1"/>
                <a:gd name="T14" fmla="*/ 32 w 32"/>
                <a:gd name="T15" fmla="*/ 1 h 1"/>
                <a:gd name="T16" fmla="*/ 32 w 32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moveTo>
                    <a:pt x="32" y="0"/>
                  </a:move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228"/>
            <p:cNvSpPr>
              <a:spLocks noChangeArrowheads="1"/>
            </p:cNvSpPr>
            <p:nvPr/>
          </p:nvSpPr>
          <p:spPr bwMode="auto">
            <a:xfrm>
              <a:off x="4568825" y="3713956"/>
              <a:ext cx="50800" cy="1588"/>
            </a:xfrm>
            <a:prstGeom prst="rect">
              <a:avLst/>
            </a:prstGeom>
            <a:solidFill>
              <a:srgbClr val="249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Rectangle 229"/>
            <p:cNvSpPr>
              <a:spLocks noChangeArrowheads="1"/>
            </p:cNvSpPr>
            <p:nvPr/>
          </p:nvSpPr>
          <p:spPr bwMode="auto">
            <a:xfrm>
              <a:off x="4568825" y="3713956"/>
              <a:ext cx="50800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Rectangle 5"/>
          <p:cNvSpPr/>
          <p:nvPr userDrawn="1"/>
        </p:nvSpPr>
        <p:spPr>
          <a:xfrm>
            <a:off x="0" y="990600"/>
            <a:ext cx="9144000" cy="41529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8839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ooter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-85047"/>
            <a:ext cx="9144000" cy="16774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483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793" y="130723"/>
            <a:ext cx="6096000" cy="3560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40232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4257731" y="4720365"/>
            <a:ext cx="628539" cy="280755"/>
            <a:chOff x="3256504" y="4721279"/>
            <a:chExt cx="628539" cy="280755"/>
          </a:xfrm>
        </p:grpSpPr>
        <p:sp>
          <p:nvSpPr>
            <p:cNvPr id="5" name="Oval 4"/>
            <p:cNvSpPr/>
            <p:nvPr userDrawn="1"/>
          </p:nvSpPr>
          <p:spPr>
            <a:xfrm>
              <a:off x="3256504" y="4721279"/>
              <a:ext cx="276847" cy="276847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/>
            <p:cNvSpPr/>
            <p:nvPr userDrawn="1"/>
          </p:nvSpPr>
          <p:spPr>
            <a:xfrm>
              <a:off x="3608196" y="4725187"/>
              <a:ext cx="276847" cy="276847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oup 7"/>
            <p:cNvGrpSpPr/>
            <p:nvPr userDrawn="1"/>
          </p:nvGrpSpPr>
          <p:grpSpPr>
            <a:xfrm>
              <a:off x="3365891" y="4826243"/>
              <a:ext cx="45719" cy="73401"/>
              <a:chOff x="3345327" y="4804129"/>
              <a:chExt cx="74099" cy="118964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 rot="16200000">
                <a:off x="3350846" y="4798611"/>
                <a:ext cx="63061" cy="74098"/>
              </a:xfrm>
              <a:prstGeom prst="line">
                <a:avLst/>
              </a:pr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>
              <a:xfrm>
                <a:off x="3345327" y="4861369"/>
                <a:ext cx="74097" cy="61724"/>
              </a:xfrm>
              <a:prstGeom prst="line">
                <a:avLst/>
              </a:pr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 flipH="1" flipV="1">
              <a:off x="3727667" y="4823914"/>
              <a:ext cx="45719" cy="73401"/>
              <a:chOff x="3345327" y="4804129"/>
              <a:chExt cx="74099" cy="118964"/>
            </a:xfrm>
          </p:grpSpPr>
          <p:cxnSp>
            <p:nvCxnSpPr>
              <p:cNvPr id="35" name="Straight Connector 34"/>
              <p:cNvCxnSpPr/>
              <p:nvPr userDrawn="1"/>
            </p:nvCxnSpPr>
            <p:spPr>
              <a:xfrm rot="16200000">
                <a:off x="3350846" y="4798611"/>
                <a:ext cx="63061" cy="74098"/>
              </a:xfrm>
              <a:prstGeom prst="line">
                <a:avLst/>
              </a:pr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/>
              <p:nvPr userDrawn="1"/>
            </p:nvCxnSpPr>
            <p:spPr>
              <a:xfrm>
                <a:off x="3345327" y="4861369"/>
                <a:ext cx="74097" cy="61724"/>
              </a:xfrm>
              <a:prstGeom prst="line">
                <a:avLst/>
              </a:pr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37" name="Straight Connector 36"/>
          <p:cNvCxnSpPr/>
          <p:nvPr userDrawn="1"/>
        </p:nvCxnSpPr>
        <p:spPr>
          <a:xfrm flipH="1">
            <a:off x="399803" y="562064"/>
            <a:ext cx="8318131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202" y="179672"/>
            <a:ext cx="1345598" cy="285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053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52" r:id="rId5"/>
    <p:sldLayoutId id="2147483653" r:id="rId6"/>
    <p:sldLayoutId id="2147483666" r:id="rId7"/>
    <p:sldLayoutId id="2147483668" r:id="rId8"/>
    <p:sldLayoutId id="2147483667" r:id="rId9"/>
    <p:sldLayoutId id="2147483660" r:id="rId10"/>
    <p:sldLayoutId id="2147483663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400" b="1" kern="1200">
          <a:solidFill>
            <a:schemeClr val="tx1"/>
          </a:solidFill>
          <a:latin typeface="Raleway"/>
          <a:ea typeface="+mj-ea"/>
          <a:cs typeface="Raleway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Raleway"/>
          <a:ea typeface="+mn-ea"/>
          <a:cs typeface="Raleway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Raleway"/>
          <a:ea typeface="+mn-ea"/>
          <a:cs typeface="Raleway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Raleway"/>
          <a:ea typeface="+mn-ea"/>
          <a:cs typeface="Raleway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Raleway"/>
          <a:ea typeface="+mn-ea"/>
          <a:cs typeface="Raleway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Raleway"/>
          <a:ea typeface="+mn-ea"/>
          <a:cs typeface="Raleway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github.com/jonaslanzlinger/software-city-project/tree/main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Shape 1833"/>
          <p:cNvSpPr/>
          <p:nvPr/>
        </p:nvSpPr>
        <p:spPr>
          <a:xfrm>
            <a:off x="0" y="0"/>
            <a:ext cx="9144000" cy="5148969"/>
          </a:xfrm>
          <a:prstGeom prst="rect">
            <a:avLst/>
          </a:prstGeom>
          <a:solidFill>
            <a:schemeClr val="tx2">
              <a:lumMod val="50000"/>
              <a:alpha val="66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 algn="ctr">
              <a:defRPr sz="3200">
                <a:solidFill>
                  <a:srgbClr val="FFFFFF"/>
                </a:solidFill>
              </a:defRPr>
            </a:pPr>
            <a:endParaRPr>
              <a:latin typeface="Raleway"/>
              <a:cs typeface="Raleway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61100" y="661040"/>
            <a:ext cx="7221801" cy="1602951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r>
              <a:rPr lang="en-US" sz="3600" b="1">
                <a:solidFill>
                  <a:schemeClr val="bg1"/>
                </a:solidFill>
                <a:latin typeface="Raleway"/>
                <a:cs typeface="Raleway"/>
              </a:rPr>
              <a:t>Software City Visualization</a:t>
            </a:r>
          </a:p>
          <a:p>
            <a:pPr algn="ctr">
              <a:lnSpc>
                <a:spcPct val="140000"/>
              </a:lnSpc>
            </a:pPr>
            <a:r>
              <a:rPr lang="en-US" sz="1600">
                <a:solidFill>
                  <a:schemeClr val="bg1"/>
                </a:solidFill>
                <a:latin typeface="Raleway"/>
                <a:cs typeface="Raleway"/>
              </a:rPr>
              <a:t>Mon, 04.12.2023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46D06CF-90DB-BF20-8B24-9B34560CCF7A}"/>
              </a:ext>
            </a:extLst>
          </p:cNvPr>
          <p:cNvGrpSpPr/>
          <p:nvPr/>
        </p:nvGrpSpPr>
        <p:grpSpPr>
          <a:xfrm>
            <a:off x="709111" y="2382242"/>
            <a:ext cx="1876911" cy="1621425"/>
            <a:chOff x="376762" y="2382242"/>
            <a:chExt cx="1876911" cy="1621425"/>
          </a:xfrm>
        </p:grpSpPr>
        <p:grpSp>
          <p:nvGrpSpPr>
            <p:cNvPr id="10" name="Group 9"/>
            <p:cNvGrpSpPr/>
            <p:nvPr/>
          </p:nvGrpSpPr>
          <p:grpSpPr>
            <a:xfrm>
              <a:off x="749904" y="2880859"/>
              <a:ext cx="1122808" cy="1122808"/>
              <a:chOff x="4018477" y="2821918"/>
              <a:chExt cx="1122808" cy="1122808"/>
            </a:xfrm>
          </p:grpSpPr>
          <p:sp>
            <p:nvSpPr>
              <p:cNvPr id="26" name="Oval 25"/>
              <p:cNvSpPr>
                <a:spLocks noChangeAspect="1"/>
              </p:cNvSpPr>
              <p:nvPr/>
            </p:nvSpPr>
            <p:spPr>
              <a:xfrm>
                <a:off x="4018477" y="2821918"/>
                <a:ext cx="1122808" cy="112280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29"/>
              <p:cNvSpPr>
                <a:spLocks noEditPoints="1"/>
              </p:cNvSpPr>
              <p:nvPr/>
            </p:nvSpPr>
            <p:spPr bwMode="auto">
              <a:xfrm>
                <a:off x="4395319" y="3194308"/>
                <a:ext cx="357836" cy="357836"/>
              </a:xfrm>
              <a:custGeom>
                <a:avLst/>
                <a:gdLst>
                  <a:gd name="T0" fmla="*/ 162 w 185"/>
                  <a:gd name="T1" fmla="*/ 52 h 185"/>
                  <a:gd name="T2" fmla="*/ 149 w 185"/>
                  <a:gd name="T3" fmla="*/ 18 h 185"/>
                  <a:gd name="T4" fmla="*/ 133 w 185"/>
                  <a:gd name="T5" fmla="*/ 23 h 185"/>
                  <a:gd name="T6" fmla="*/ 105 w 185"/>
                  <a:gd name="T7" fmla="*/ 0 h 185"/>
                  <a:gd name="T8" fmla="*/ 72 w 185"/>
                  <a:gd name="T9" fmla="*/ 15 h 185"/>
                  <a:gd name="T10" fmla="*/ 40 w 185"/>
                  <a:gd name="T11" fmla="*/ 17 h 185"/>
                  <a:gd name="T12" fmla="*/ 18 w 185"/>
                  <a:gd name="T13" fmla="*/ 44 h 185"/>
                  <a:gd name="T14" fmla="*/ 6 w 185"/>
                  <a:gd name="T15" fmla="*/ 74 h 185"/>
                  <a:gd name="T16" fmla="*/ 6 w 185"/>
                  <a:gd name="T17" fmla="*/ 111 h 185"/>
                  <a:gd name="T18" fmla="*/ 18 w 185"/>
                  <a:gd name="T19" fmla="*/ 141 h 185"/>
                  <a:gd name="T20" fmla="*/ 39 w 185"/>
                  <a:gd name="T21" fmla="*/ 168 h 185"/>
                  <a:gd name="T22" fmla="*/ 72 w 185"/>
                  <a:gd name="T23" fmla="*/ 170 h 185"/>
                  <a:gd name="T24" fmla="*/ 105 w 185"/>
                  <a:gd name="T25" fmla="*/ 185 h 185"/>
                  <a:gd name="T26" fmla="*/ 133 w 185"/>
                  <a:gd name="T27" fmla="*/ 162 h 185"/>
                  <a:gd name="T28" fmla="*/ 149 w 185"/>
                  <a:gd name="T29" fmla="*/ 167 h 185"/>
                  <a:gd name="T30" fmla="*/ 162 w 185"/>
                  <a:gd name="T31" fmla="*/ 133 h 185"/>
                  <a:gd name="T32" fmla="*/ 185 w 185"/>
                  <a:gd name="T33" fmla="*/ 105 h 185"/>
                  <a:gd name="T34" fmla="*/ 177 w 185"/>
                  <a:gd name="T35" fmla="*/ 103 h 185"/>
                  <a:gd name="T36" fmla="*/ 162 w 185"/>
                  <a:gd name="T37" fmla="*/ 111 h 185"/>
                  <a:gd name="T38" fmla="*/ 160 w 185"/>
                  <a:gd name="T39" fmla="*/ 145 h 185"/>
                  <a:gd name="T40" fmla="*/ 137 w 185"/>
                  <a:gd name="T41" fmla="*/ 155 h 185"/>
                  <a:gd name="T42" fmla="*/ 111 w 185"/>
                  <a:gd name="T43" fmla="*/ 162 h 185"/>
                  <a:gd name="T44" fmla="*/ 103 w 185"/>
                  <a:gd name="T45" fmla="*/ 177 h 185"/>
                  <a:gd name="T46" fmla="*/ 74 w 185"/>
                  <a:gd name="T47" fmla="*/ 162 h 185"/>
                  <a:gd name="T48" fmla="*/ 48 w 185"/>
                  <a:gd name="T49" fmla="*/ 155 h 185"/>
                  <a:gd name="T50" fmla="*/ 26 w 185"/>
                  <a:gd name="T51" fmla="*/ 145 h 185"/>
                  <a:gd name="T52" fmla="*/ 23 w 185"/>
                  <a:gd name="T53" fmla="*/ 111 h 185"/>
                  <a:gd name="T54" fmla="*/ 8 w 185"/>
                  <a:gd name="T55" fmla="*/ 103 h 185"/>
                  <a:gd name="T56" fmla="*/ 23 w 185"/>
                  <a:gd name="T57" fmla="*/ 74 h 185"/>
                  <a:gd name="T58" fmla="*/ 26 w 185"/>
                  <a:gd name="T59" fmla="*/ 40 h 185"/>
                  <a:gd name="T60" fmla="*/ 48 w 185"/>
                  <a:gd name="T61" fmla="*/ 30 h 185"/>
                  <a:gd name="T62" fmla="*/ 74 w 185"/>
                  <a:gd name="T63" fmla="*/ 23 h 185"/>
                  <a:gd name="T64" fmla="*/ 103 w 185"/>
                  <a:gd name="T65" fmla="*/ 8 h 185"/>
                  <a:gd name="T66" fmla="*/ 111 w 185"/>
                  <a:gd name="T67" fmla="*/ 23 h 185"/>
                  <a:gd name="T68" fmla="*/ 137 w 185"/>
                  <a:gd name="T69" fmla="*/ 30 h 185"/>
                  <a:gd name="T70" fmla="*/ 160 w 185"/>
                  <a:gd name="T71" fmla="*/ 40 h 185"/>
                  <a:gd name="T72" fmla="*/ 162 w 185"/>
                  <a:gd name="T73" fmla="*/ 74 h 185"/>
                  <a:gd name="T74" fmla="*/ 177 w 185"/>
                  <a:gd name="T75" fmla="*/ 103 h 185"/>
                  <a:gd name="T76" fmla="*/ 93 w 185"/>
                  <a:gd name="T77" fmla="*/ 143 h 185"/>
                  <a:gd name="T78" fmla="*/ 93 w 185"/>
                  <a:gd name="T79" fmla="*/ 50 h 185"/>
                  <a:gd name="T80" fmla="*/ 93 w 185"/>
                  <a:gd name="T81" fmla="*/ 76 h 185"/>
                  <a:gd name="T82" fmla="*/ 93 w 185"/>
                  <a:gd name="T83" fmla="*/ 50 h 185"/>
                  <a:gd name="T84" fmla="*/ 54 w 185"/>
                  <a:gd name="T85" fmla="*/ 76 h 185"/>
                  <a:gd name="T86" fmla="*/ 88 w 185"/>
                  <a:gd name="T87" fmla="*/ 109 h 185"/>
                  <a:gd name="T88" fmla="*/ 93 w 185"/>
                  <a:gd name="T89" fmla="*/ 84 h 185"/>
                  <a:gd name="T90" fmla="*/ 84 w 185"/>
                  <a:gd name="T91" fmla="*/ 93 h 185"/>
                  <a:gd name="T92" fmla="*/ 97 w 185"/>
                  <a:gd name="T93" fmla="*/ 109 h 185"/>
                  <a:gd name="T94" fmla="*/ 131 w 185"/>
                  <a:gd name="T95" fmla="*/ 76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5" h="185">
                    <a:moveTo>
                      <a:pt x="179" y="74"/>
                    </a:moveTo>
                    <a:cubicBezTo>
                      <a:pt x="170" y="72"/>
                      <a:pt x="170" y="72"/>
                      <a:pt x="170" y="72"/>
                    </a:cubicBezTo>
                    <a:cubicBezTo>
                      <a:pt x="168" y="65"/>
                      <a:pt x="166" y="58"/>
                      <a:pt x="162" y="52"/>
                    </a:cubicBezTo>
                    <a:cubicBezTo>
                      <a:pt x="167" y="44"/>
                      <a:pt x="167" y="44"/>
                      <a:pt x="167" y="44"/>
                    </a:cubicBezTo>
                    <a:cubicBezTo>
                      <a:pt x="168" y="42"/>
                      <a:pt x="169" y="38"/>
                      <a:pt x="167" y="36"/>
                    </a:cubicBezTo>
                    <a:cubicBezTo>
                      <a:pt x="149" y="18"/>
                      <a:pt x="149" y="18"/>
                      <a:pt x="149" y="18"/>
                    </a:cubicBezTo>
                    <a:cubicBezTo>
                      <a:pt x="148" y="17"/>
                      <a:pt x="147" y="17"/>
                      <a:pt x="146" y="17"/>
                    </a:cubicBezTo>
                    <a:cubicBezTo>
                      <a:pt x="144" y="17"/>
                      <a:pt x="142" y="17"/>
                      <a:pt x="141" y="18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27" y="19"/>
                      <a:pt x="120" y="17"/>
                      <a:pt x="113" y="15"/>
                    </a:cubicBezTo>
                    <a:cubicBezTo>
                      <a:pt x="111" y="6"/>
                      <a:pt x="111" y="6"/>
                      <a:pt x="111" y="6"/>
                    </a:cubicBezTo>
                    <a:cubicBezTo>
                      <a:pt x="110" y="3"/>
                      <a:pt x="108" y="0"/>
                      <a:pt x="105" y="0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77" y="0"/>
                      <a:pt x="75" y="3"/>
                      <a:pt x="74" y="6"/>
                    </a:cubicBezTo>
                    <a:cubicBezTo>
                      <a:pt x="72" y="15"/>
                      <a:pt x="72" y="15"/>
                      <a:pt x="72" y="15"/>
                    </a:cubicBezTo>
                    <a:cubicBezTo>
                      <a:pt x="65" y="17"/>
                      <a:pt x="58" y="19"/>
                      <a:pt x="52" y="23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3" y="17"/>
                      <a:pt x="41" y="17"/>
                      <a:pt x="40" y="17"/>
                    </a:cubicBezTo>
                    <a:cubicBezTo>
                      <a:pt x="38" y="17"/>
                      <a:pt x="37" y="17"/>
                      <a:pt x="36" y="18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6" y="38"/>
                      <a:pt x="17" y="42"/>
                      <a:pt x="18" y="44"/>
                    </a:cubicBezTo>
                    <a:cubicBezTo>
                      <a:pt x="23" y="52"/>
                      <a:pt x="23" y="52"/>
                      <a:pt x="23" y="52"/>
                    </a:cubicBezTo>
                    <a:cubicBezTo>
                      <a:pt x="19" y="58"/>
                      <a:pt x="17" y="65"/>
                      <a:pt x="15" y="72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3" y="75"/>
                      <a:pt x="0" y="77"/>
                      <a:pt x="0" y="80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08"/>
                      <a:pt x="3" y="110"/>
                      <a:pt x="6" y="111"/>
                    </a:cubicBezTo>
                    <a:cubicBezTo>
                      <a:pt x="15" y="113"/>
                      <a:pt x="15" y="113"/>
                      <a:pt x="15" y="113"/>
                    </a:cubicBezTo>
                    <a:cubicBezTo>
                      <a:pt x="17" y="120"/>
                      <a:pt x="19" y="127"/>
                      <a:pt x="23" y="133"/>
                    </a:cubicBezTo>
                    <a:cubicBezTo>
                      <a:pt x="18" y="141"/>
                      <a:pt x="18" y="141"/>
                      <a:pt x="18" y="141"/>
                    </a:cubicBezTo>
                    <a:cubicBezTo>
                      <a:pt x="17" y="143"/>
                      <a:pt x="16" y="147"/>
                      <a:pt x="18" y="149"/>
                    </a:cubicBezTo>
                    <a:cubicBezTo>
                      <a:pt x="36" y="167"/>
                      <a:pt x="36" y="167"/>
                      <a:pt x="36" y="167"/>
                    </a:cubicBezTo>
                    <a:cubicBezTo>
                      <a:pt x="37" y="168"/>
                      <a:pt x="38" y="168"/>
                      <a:pt x="39" y="168"/>
                    </a:cubicBezTo>
                    <a:cubicBezTo>
                      <a:pt x="41" y="168"/>
                      <a:pt x="43" y="168"/>
                      <a:pt x="44" y="167"/>
                    </a:cubicBezTo>
                    <a:cubicBezTo>
                      <a:pt x="52" y="162"/>
                      <a:pt x="52" y="162"/>
                      <a:pt x="52" y="162"/>
                    </a:cubicBezTo>
                    <a:cubicBezTo>
                      <a:pt x="58" y="166"/>
                      <a:pt x="65" y="168"/>
                      <a:pt x="72" y="170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5" y="182"/>
                      <a:pt x="77" y="185"/>
                      <a:pt x="80" y="185"/>
                    </a:cubicBezTo>
                    <a:cubicBezTo>
                      <a:pt x="105" y="185"/>
                      <a:pt x="105" y="185"/>
                      <a:pt x="105" y="185"/>
                    </a:cubicBezTo>
                    <a:cubicBezTo>
                      <a:pt x="108" y="185"/>
                      <a:pt x="110" y="182"/>
                      <a:pt x="111" y="179"/>
                    </a:cubicBezTo>
                    <a:cubicBezTo>
                      <a:pt x="113" y="170"/>
                      <a:pt x="113" y="170"/>
                      <a:pt x="113" y="170"/>
                    </a:cubicBezTo>
                    <a:cubicBezTo>
                      <a:pt x="120" y="168"/>
                      <a:pt x="127" y="166"/>
                      <a:pt x="133" y="162"/>
                    </a:cubicBezTo>
                    <a:cubicBezTo>
                      <a:pt x="141" y="167"/>
                      <a:pt x="141" y="167"/>
                      <a:pt x="141" y="167"/>
                    </a:cubicBezTo>
                    <a:cubicBezTo>
                      <a:pt x="142" y="168"/>
                      <a:pt x="144" y="168"/>
                      <a:pt x="146" y="168"/>
                    </a:cubicBezTo>
                    <a:cubicBezTo>
                      <a:pt x="147" y="168"/>
                      <a:pt x="148" y="168"/>
                      <a:pt x="149" y="167"/>
                    </a:cubicBezTo>
                    <a:cubicBezTo>
                      <a:pt x="167" y="149"/>
                      <a:pt x="167" y="149"/>
                      <a:pt x="167" y="149"/>
                    </a:cubicBezTo>
                    <a:cubicBezTo>
                      <a:pt x="169" y="147"/>
                      <a:pt x="169" y="143"/>
                      <a:pt x="167" y="141"/>
                    </a:cubicBezTo>
                    <a:cubicBezTo>
                      <a:pt x="162" y="133"/>
                      <a:pt x="162" y="133"/>
                      <a:pt x="162" y="133"/>
                    </a:cubicBezTo>
                    <a:cubicBezTo>
                      <a:pt x="166" y="127"/>
                      <a:pt x="168" y="120"/>
                      <a:pt x="170" y="113"/>
                    </a:cubicBezTo>
                    <a:cubicBezTo>
                      <a:pt x="179" y="111"/>
                      <a:pt x="179" y="111"/>
                      <a:pt x="179" y="111"/>
                    </a:cubicBezTo>
                    <a:cubicBezTo>
                      <a:pt x="182" y="110"/>
                      <a:pt x="185" y="108"/>
                      <a:pt x="185" y="105"/>
                    </a:cubicBezTo>
                    <a:cubicBezTo>
                      <a:pt x="185" y="80"/>
                      <a:pt x="185" y="80"/>
                      <a:pt x="185" y="80"/>
                    </a:cubicBezTo>
                    <a:cubicBezTo>
                      <a:pt x="185" y="77"/>
                      <a:pt x="182" y="75"/>
                      <a:pt x="179" y="74"/>
                    </a:cubicBezTo>
                    <a:close/>
                    <a:moveTo>
                      <a:pt x="177" y="103"/>
                    </a:moveTo>
                    <a:cubicBezTo>
                      <a:pt x="177" y="103"/>
                      <a:pt x="177" y="103"/>
                      <a:pt x="177" y="103"/>
                    </a:cubicBezTo>
                    <a:cubicBezTo>
                      <a:pt x="168" y="105"/>
                      <a:pt x="168" y="105"/>
                      <a:pt x="168" y="105"/>
                    </a:cubicBezTo>
                    <a:cubicBezTo>
                      <a:pt x="165" y="106"/>
                      <a:pt x="163" y="108"/>
                      <a:pt x="162" y="111"/>
                    </a:cubicBezTo>
                    <a:cubicBezTo>
                      <a:pt x="161" y="117"/>
                      <a:pt x="158" y="123"/>
                      <a:pt x="155" y="129"/>
                    </a:cubicBezTo>
                    <a:cubicBezTo>
                      <a:pt x="153" y="131"/>
                      <a:pt x="153" y="134"/>
                      <a:pt x="155" y="137"/>
                    </a:cubicBezTo>
                    <a:cubicBezTo>
                      <a:pt x="160" y="145"/>
                      <a:pt x="160" y="145"/>
                      <a:pt x="160" y="145"/>
                    </a:cubicBezTo>
                    <a:cubicBezTo>
                      <a:pt x="145" y="160"/>
                      <a:pt x="145" y="160"/>
                      <a:pt x="145" y="160"/>
                    </a:cubicBezTo>
                    <a:cubicBezTo>
                      <a:pt x="145" y="160"/>
                      <a:pt x="145" y="160"/>
                      <a:pt x="145" y="160"/>
                    </a:cubicBezTo>
                    <a:cubicBezTo>
                      <a:pt x="137" y="155"/>
                      <a:pt x="137" y="155"/>
                      <a:pt x="137" y="155"/>
                    </a:cubicBezTo>
                    <a:cubicBezTo>
                      <a:pt x="136" y="154"/>
                      <a:pt x="134" y="154"/>
                      <a:pt x="133" y="154"/>
                    </a:cubicBezTo>
                    <a:cubicBezTo>
                      <a:pt x="131" y="154"/>
                      <a:pt x="130" y="154"/>
                      <a:pt x="129" y="155"/>
                    </a:cubicBezTo>
                    <a:cubicBezTo>
                      <a:pt x="123" y="158"/>
                      <a:pt x="117" y="160"/>
                      <a:pt x="111" y="162"/>
                    </a:cubicBezTo>
                    <a:cubicBezTo>
                      <a:pt x="108" y="163"/>
                      <a:pt x="106" y="165"/>
                      <a:pt x="105" y="168"/>
                    </a:cubicBezTo>
                    <a:cubicBezTo>
                      <a:pt x="103" y="177"/>
                      <a:pt x="103" y="177"/>
                      <a:pt x="103" y="177"/>
                    </a:cubicBezTo>
                    <a:cubicBezTo>
                      <a:pt x="103" y="177"/>
                      <a:pt x="103" y="177"/>
                      <a:pt x="103" y="177"/>
                    </a:cubicBezTo>
                    <a:cubicBezTo>
                      <a:pt x="82" y="177"/>
                      <a:pt x="82" y="177"/>
                      <a:pt x="82" y="177"/>
                    </a:cubicBezTo>
                    <a:cubicBezTo>
                      <a:pt x="80" y="168"/>
                      <a:pt x="80" y="168"/>
                      <a:pt x="80" y="168"/>
                    </a:cubicBezTo>
                    <a:cubicBezTo>
                      <a:pt x="79" y="165"/>
                      <a:pt x="77" y="163"/>
                      <a:pt x="74" y="162"/>
                    </a:cubicBezTo>
                    <a:cubicBezTo>
                      <a:pt x="68" y="160"/>
                      <a:pt x="62" y="158"/>
                      <a:pt x="57" y="155"/>
                    </a:cubicBezTo>
                    <a:cubicBezTo>
                      <a:pt x="55" y="154"/>
                      <a:pt x="54" y="154"/>
                      <a:pt x="52" y="154"/>
                    </a:cubicBezTo>
                    <a:cubicBezTo>
                      <a:pt x="51" y="154"/>
                      <a:pt x="49" y="154"/>
                      <a:pt x="48" y="155"/>
                    </a:cubicBezTo>
                    <a:cubicBezTo>
                      <a:pt x="40" y="160"/>
                      <a:pt x="40" y="160"/>
                      <a:pt x="40" y="160"/>
                    </a:cubicBezTo>
                    <a:cubicBezTo>
                      <a:pt x="40" y="160"/>
                      <a:pt x="40" y="160"/>
                      <a:pt x="40" y="160"/>
                    </a:cubicBezTo>
                    <a:cubicBezTo>
                      <a:pt x="26" y="145"/>
                      <a:pt x="26" y="145"/>
                      <a:pt x="26" y="145"/>
                    </a:cubicBezTo>
                    <a:cubicBezTo>
                      <a:pt x="30" y="137"/>
                      <a:pt x="30" y="137"/>
                      <a:pt x="30" y="137"/>
                    </a:cubicBezTo>
                    <a:cubicBezTo>
                      <a:pt x="32" y="134"/>
                      <a:pt x="32" y="131"/>
                      <a:pt x="30" y="129"/>
                    </a:cubicBezTo>
                    <a:cubicBezTo>
                      <a:pt x="27" y="123"/>
                      <a:pt x="25" y="117"/>
                      <a:pt x="23" y="111"/>
                    </a:cubicBezTo>
                    <a:cubicBezTo>
                      <a:pt x="22" y="108"/>
                      <a:pt x="20" y="106"/>
                      <a:pt x="17" y="105"/>
                    </a:cubicBezTo>
                    <a:cubicBezTo>
                      <a:pt x="8" y="103"/>
                      <a:pt x="8" y="103"/>
                      <a:pt x="8" y="103"/>
                    </a:cubicBezTo>
                    <a:cubicBezTo>
                      <a:pt x="8" y="103"/>
                      <a:pt x="8" y="103"/>
                      <a:pt x="8" y="103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17" y="80"/>
                      <a:pt x="17" y="80"/>
                      <a:pt x="17" y="80"/>
                    </a:cubicBezTo>
                    <a:cubicBezTo>
                      <a:pt x="20" y="79"/>
                      <a:pt x="22" y="77"/>
                      <a:pt x="23" y="74"/>
                    </a:cubicBezTo>
                    <a:cubicBezTo>
                      <a:pt x="25" y="68"/>
                      <a:pt x="27" y="62"/>
                      <a:pt x="30" y="57"/>
                    </a:cubicBezTo>
                    <a:cubicBezTo>
                      <a:pt x="32" y="54"/>
                      <a:pt x="32" y="51"/>
                      <a:pt x="30" y="48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49" y="31"/>
                      <a:pt x="51" y="31"/>
                      <a:pt x="52" y="31"/>
                    </a:cubicBezTo>
                    <a:cubicBezTo>
                      <a:pt x="54" y="31"/>
                      <a:pt x="55" y="31"/>
                      <a:pt x="57" y="30"/>
                    </a:cubicBezTo>
                    <a:cubicBezTo>
                      <a:pt x="62" y="27"/>
                      <a:pt x="68" y="25"/>
                      <a:pt x="74" y="23"/>
                    </a:cubicBezTo>
                    <a:cubicBezTo>
                      <a:pt x="77" y="22"/>
                      <a:pt x="79" y="20"/>
                      <a:pt x="80" y="17"/>
                    </a:cubicBezTo>
                    <a:cubicBezTo>
                      <a:pt x="82" y="8"/>
                      <a:pt x="82" y="8"/>
                      <a:pt x="82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5" y="17"/>
                      <a:pt x="105" y="17"/>
                      <a:pt x="105" y="17"/>
                    </a:cubicBezTo>
                    <a:cubicBezTo>
                      <a:pt x="106" y="20"/>
                      <a:pt x="108" y="22"/>
                      <a:pt x="111" y="23"/>
                    </a:cubicBezTo>
                    <a:cubicBezTo>
                      <a:pt x="117" y="25"/>
                      <a:pt x="123" y="27"/>
                      <a:pt x="129" y="30"/>
                    </a:cubicBezTo>
                    <a:cubicBezTo>
                      <a:pt x="130" y="31"/>
                      <a:pt x="131" y="31"/>
                      <a:pt x="133" y="31"/>
                    </a:cubicBezTo>
                    <a:cubicBezTo>
                      <a:pt x="134" y="31"/>
                      <a:pt x="136" y="31"/>
                      <a:pt x="137" y="30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60" y="40"/>
                      <a:pt x="160" y="40"/>
                      <a:pt x="160" y="40"/>
                    </a:cubicBezTo>
                    <a:cubicBezTo>
                      <a:pt x="160" y="40"/>
                      <a:pt x="160" y="40"/>
                      <a:pt x="160" y="40"/>
                    </a:cubicBezTo>
                    <a:cubicBezTo>
                      <a:pt x="155" y="48"/>
                      <a:pt x="155" y="48"/>
                      <a:pt x="155" y="48"/>
                    </a:cubicBezTo>
                    <a:cubicBezTo>
                      <a:pt x="153" y="51"/>
                      <a:pt x="153" y="54"/>
                      <a:pt x="155" y="57"/>
                    </a:cubicBezTo>
                    <a:cubicBezTo>
                      <a:pt x="158" y="62"/>
                      <a:pt x="161" y="68"/>
                      <a:pt x="162" y="74"/>
                    </a:cubicBezTo>
                    <a:cubicBezTo>
                      <a:pt x="163" y="77"/>
                      <a:pt x="165" y="79"/>
                      <a:pt x="168" y="80"/>
                    </a:cubicBezTo>
                    <a:cubicBezTo>
                      <a:pt x="177" y="82"/>
                      <a:pt x="177" y="82"/>
                      <a:pt x="177" y="82"/>
                    </a:cubicBezTo>
                    <a:lnTo>
                      <a:pt x="177" y="103"/>
                    </a:lnTo>
                    <a:close/>
                    <a:moveTo>
                      <a:pt x="93" y="42"/>
                    </a:moveTo>
                    <a:cubicBezTo>
                      <a:pt x="65" y="42"/>
                      <a:pt x="42" y="65"/>
                      <a:pt x="42" y="93"/>
                    </a:cubicBezTo>
                    <a:cubicBezTo>
                      <a:pt x="42" y="120"/>
                      <a:pt x="65" y="143"/>
                      <a:pt x="93" y="143"/>
                    </a:cubicBezTo>
                    <a:cubicBezTo>
                      <a:pt x="121" y="143"/>
                      <a:pt x="143" y="120"/>
                      <a:pt x="143" y="93"/>
                    </a:cubicBezTo>
                    <a:cubicBezTo>
                      <a:pt x="143" y="65"/>
                      <a:pt x="121" y="42"/>
                      <a:pt x="93" y="42"/>
                    </a:cubicBezTo>
                    <a:close/>
                    <a:moveTo>
                      <a:pt x="93" y="50"/>
                    </a:moveTo>
                    <a:cubicBezTo>
                      <a:pt x="107" y="50"/>
                      <a:pt x="120" y="58"/>
                      <a:pt x="127" y="68"/>
                    </a:cubicBezTo>
                    <a:cubicBezTo>
                      <a:pt x="105" y="81"/>
                      <a:pt x="105" y="81"/>
                      <a:pt x="105" y="81"/>
                    </a:cubicBezTo>
                    <a:cubicBezTo>
                      <a:pt x="102" y="78"/>
                      <a:pt x="97" y="76"/>
                      <a:pt x="93" y="76"/>
                    </a:cubicBezTo>
                    <a:cubicBezTo>
                      <a:pt x="88" y="76"/>
                      <a:pt x="83" y="78"/>
                      <a:pt x="80" y="8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66" y="58"/>
                      <a:pt x="78" y="50"/>
                      <a:pt x="93" y="50"/>
                    </a:cubicBezTo>
                    <a:close/>
                    <a:moveTo>
                      <a:pt x="88" y="135"/>
                    </a:moveTo>
                    <a:cubicBezTo>
                      <a:pt x="67" y="132"/>
                      <a:pt x="50" y="114"/>
                      <a:pt x="50" y="93"/>
                    </a:cubicBezTo>
                    <a:cubicBezTo>
                      <a:pt x="50" y="87"/>
                      <a:pt x="52" y="81"/>
                      <a:pt x="54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90"/>
                      <a:pt x="76" y="91"/>
                      <a:pt x="76" y="93"/>
                    </a:cubicBezTo>
                    <a:cubicBezTo>
                      <a:pt x="76" y="100"/>
                      <a:pt x="81" y="107"/>
                      <a:pt x="88" y="109"/>
                    </a:cubicBezTo>
                    <a:lnTo>
                      <a:pt x="88" y="135"/>
                    </a:lnTo>
                    <a:close/>
                    <a:moveTo>
                      <a:pt x="84" y="93"/>
                    </a:moveTo>
                    <a:cubicBezTo>
                      <a:pt x="84" y="88"/>
                      <a:pt x="88" y="84"/>
                      <a:pt x="93" y="84"/>
                    </a:cubicBezTo>
                    <a:cubicBezTo>
                      <a:pt x="97" y="84"/>
                      <a:pt x="101" y="88"/>
                      <a:pt x="101" y="93"/>
                    </a:cubicBezTo>
                    <a:cubicBezTo>
                      <a:pt x="101" y="97"/>
                      <a:pt x="97" y="101"/>
                      <a:pt x="93" y="101"/>
                    </a:cubicBezTo>
                    <a:cubicBezTo>
                      <a:pt x="88" y="101"/>
                      <a:pt x="84" y="97"/>
                      <a:pt x="84" y="93"/>
                    </a:cubicBezTo>
                    <a:close/>
                    <a:moveTo>
                      <a:pt x="135" y="93"/>
                    </a:moveTo>
                    <a:cubicBezTo>
                      <a:pt x="135" y="114"/>
                      <a:pt x="118" y="132"/>
                      <a:pt x="97" y="135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104" y="107"/>
                      <a:pt x="109" y="100"/>
                      <a:pt x="109" y="93"/>
                    </a:cubicBezTo>
                    <a:cubicBezTo>
                      <a:pt x="109" y="91"/>
                      <a:pt x="109" y="90"/>
                      <a:pt x="109" y="88"/>
                    </a:cubicBezTo>
                    <a:cubicBezTo>
                      <a:pt x="131" y="76"/>
                      <a:pt x="131" y="76"/>
                      <a:pt x="131" y="76"/>
                    </a:cubicBezTo>
                    <a:cubicBezTo>
                      <a:pt x="134" y="81"/>
                      <a:pt x="135" y="87"/>
                      <a:pt x="135" y="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8C89294-9526-1E26-1B36-6472B931C601}"/>
                </a:ext>
              </a:extLst>
            </p:cNvPr>
            <p:cNvSpPr/>
            <p:nvPr/>
          </p:nvSpPr>
          <p:spPr>
            <a:xfrm>
              <a:off x="376762" y="2382242"/>
              <a:ext cx="1876911" cy="490268"/>
            </a:xfrm>
            <a:prstGeom prst="rect">
              <a:avLst/>
            </a:prstGeom>
            <a:noFill/>
            <a:ln w="63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40000"/>
                </a:lnSpc>
              </a:pPr>
              <a:r>
                <a:rPr lang="en-US" sz="2000" b="1">
                  <a:solidFill>
                    <a:schemeClr val="bg1"/>
                  </a:solidFill>
                  <a:latin typeface="Raleway"/>
                  <a:cs typeface="Raleway"/>
                </a:rPr>
                <a:t>Architectur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7404262-0674-7466-69F6-A687DF8D725A}"/>
              </a:ext>
            </a:extLst>
          </p:cNvPr>
          <p:cNvGrpSpPr/>
          <p:nvPr/>
        </p:nvGrpSpPr>
        <p:grpSpPr>
          <a:xfrm>
            <a:off x="3695224" y="2382242"/>
            <a:ext cx="1768170" cy="1621425"/>
            <a:chOff x="2061371" y="2382242"/>
            <a:chExt cx="1768170" cy="1621425"/>
          </a:xfrm>
        </p:grpSpPr>
        <p:grpSp>
          <p:nvGrpSpPr>
            <p:cNvPr id="4" name="Group 3"/>
            <p:cNvGrpSpPr>
              <a:grpSpLocks noChangeAspect="1"/>
            </p:cNvGrpSpPr>
            <p:nvPr/>
          </p:nvGrpSpPr>
          <p:grpSpPr>
            <a:xfrm>
              <a:off x="2384052" y="2880859"/>
              <a:ext cx="1122808" cy="1122808"/>
              <a:chOff x="1029098" y="2719048"/>
              <a:chExt cx="1302622" cy="1302622"/>
            </a:xfrm>
          </p:grpSpPr>
          <p:sp>
            <p:nvSpPr>
              <p:cNvPr id="2" name="Oval 1"/>
              <p:cNvSpPr>
                <a:spLocks noChangeAspect="1"/>
              </p:cNvSpPr>
              <p:nvPr/>
            </p:nvSpPr>
            <p:spPr>
              <a:xfrm>
                <a:off x="1029098" y="2719048"/>
                <a:ext cx="1302622" cy="130262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Freeform 500"/>
              <p:cNvSpPr>
                <a:spLocks noEditPoints="1"/>
              </p:cNvSpPr>
              <p:nvPr/>
            </p:nvSpPr>
            <p:spPr bwMode="auto">
              <a:xfrm>
                <a:off x="1425280" y="3125428"/>
                <a:ext cx="510258" cy="515788"/>
              </a:xfrm>
              <a:custGeom>
                <a:avLst/>
                <a:gdLst>
                  <a:gd name="T0" fmla="*/ 152 w 186"/>
                  <a:gd name="T1" fmla="*/ 55 h 186"/>
                  <a:gd name="T2" fmla="*/ 127 w 186"/>
                  <a:gd name="T3" fmla="*/ 55 h 186"/>
                  <a:gd name="T4" fmla="*/ 140 w 186"/>
                  <a:gd name="T5" fmla="*/ 51 h 186"/>
                  <a:gd name="T6" fmla="*/ 140 w 186"/>
                  <a:gd name="T7" fmla="*/ 60 h 186"/>
                  <a:gd name="T8" fmla="*/ 140 w 186"/>
                  <a:gd name="T9" fmla="*/ 51 h 186"/>
                  <a:gd name="T10" fmla="*/ 102 w 186"/>
                  <a:gd name="T11" fmla="*/ 9 h 186"/>
                  <a:gd name="T12" fmla="*/ 85 w 186"/>
                  <a:gd name="T13" fmla="*/ 9 h 186"/>
                  <a:gd name="T14" fmla="*/ 0 w 186"/>
                  <a:gd name="T15" fmla="*/ 17 h 186"/>
                  <a:gd name="T16" fmla="*/ 9 w 186"/>
                  <a:gd name="T17" fmla="*/ 34 h 186"/>
                  <a:gd name="T18" fmla="*/ 17 w 186"/>
                  <a:gd name="T19" fmla="*/ 144 h 186"/>
                  <a:gd name="T20" fmla="*/ 89 w 186"/>
                  <a:gd name="T21" fmla="*/ 155 h 186"/>
                  <a:gd name="T22" fmla="*/ 64 w 186"/>
                  <a:gd name="T23" fmla="*/ 182 h 186"/>
                  <a:gd name="T24" fmla="*/ 71 w 186"/>
                  <a:gd name="T25" fmla="*/ 185 h 186"/>
                  <a:gd name="T26" fmla="*/ 116 w 186"/>
                  <a:gd name="T27" fmla="*/ 185 h 186"/>
                  <a:gd name="T28" fmla="*/ 123 w 186"/>
                  <a:gd name="T29" fmla="*/ 182 h 186"/>
                  <a:gd name="T30" fmla="*/ 97 w 186"/>
                  <a:gd name="T31" fmla="*/ 155 h 186"/>
                  <a:gd name="T32" fmla="*/ 169 w 186"/>
                  <a:gd name="T33" fmla="*/ 144 h 186"/>
                  <a:gd name="T34" fmla="*/ 178 w 186"/>
                  <a:gd name="T35" fmla="*/ 34 h 186"/>
                  <a:gd name="T36" fmla="*/ 186 w 186"/>
                  <a:gd name="T37" fmla="*/ 17 h 186"/>
                  <a:gd name="T38" fmla="*/ 169 w 186"/>
                  <a:gd name="T39" fmla="*/ 135 h 186"/>
                  <a:gd name="T40" fmla="*/ 17 w 186"/>
                  <a:gd name="T41" fmla="*/ 34 h 186"/>
                  <a:gd name="T42" fmla="*/ 169 w 186"/>
                  <a:gd name="T43" fmla="*/ 135 h 186"/>
                  <a:gd name="T44" fmla="*/ 9 w 186"/>
                  <a:gd name="T45" fmla="*/ 26 h 186"/>
                  <a:gd name="T46" fmla="*/ 178 w 186"/>
                  <a:gd name="T47" fmla="*/ 17 h 186"/>
                  <a:gd name="T48" fmla="*/ 38 w 186"/>
                  <a:gd name="T49" fmla="*/ 119 h 186"/>
                  <a:gd name="T50" fmla="*/ 152 w 186"/>
                  <a:gd name="T51" fmla="*/ 114 h 186"/>
                  <a:gd name="T52" fmla="*/ 151 w 186"/>
                  <a:gd name="T53" fmla="*/ 112 h 186"/>
                  <a:gd name="T54" fmla="*/ 126 w 186"/>
                  <a:gd name="T55" fmla="*/ 78 h 186"/>
                  <a:gd name="T56" fmla="*/ 120 w 186"/>
                  <a:gd name="T57" fmla="*/ 78 h 186"/>
                  <a:gd name="T58" fmla="*/ 75 w 186"/>
                  <a:gd name="T59" fmla="*/ 61 h 186"/>
                  <a:gd name="T60" fmla="*/ 69 w 186"/>
                  <a:gd name="T61" fmla="*/ 61 h 186"/>
                  <a:gd name="T62" fmla="*/ 35 w 186"/>
                  <a:gd name="T63" fmla="*/ 112 h 186"/>
                  <a:gd name="T64" fmla="*/ 34 w 186"/>
                  <a:gd name="T65" fmla="*/ 114 h 186"/>
                  <a:gd name="T66" fmla="*/ 73 w 186"/>
                  <a:gd name="T67" fmla="*/ 70 h 186"/>
                  <a:gd name="T68" fmla="*/ 106 w 186"/>
                  <a:gd name="T69" fmla="*/ 102 h 186"/>
                  <a:gd name="T70" fmla="*/ 122 w 186"/>
                  <a:gd name="T71" fmla="*/ 87 h 186"/>
                  <a:gd name="T72" fmla="*/ 46 w 186"/>
                  <a:gd name="T73" fmla="*/ 11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6" h="186">
                    <a:moveTo>
                      <a:pt x="140" y="68"/>
                    </a:moveTo>
                    <a:cubicBezTo>
                      <a:pt x="147" y="68"/>
                      <a:pt x="152" y="62"/>
                      <a:pt x="152" y="55"/>
                    </a:cubicBezTo>
                    <a:cubicBezTo>
                      <a:pt x="152" y="48"/>
                      <a:pt x="147" y="43"/>
                      <a:pt x="140" y="43"/>
                    </a:cubicBezTo>
                    <a:cubicBezTo>
                      <a:pt x="133" y="43"/>
                      <a:pt x="127" y="48"/>
                      <a:pt x="127" y="55"/>
                    </a:cubicBezTo>
                    <a:cubicBezTo>
                      <a:pt x="127" y="62"/>
                      <a:pt x="133" y="68"/>
                      <a:pt x="140" y="68"/>
                    </a:cubicBezTo>
                    <a:close/>
                    <a:moveTo>
                      <a:pt x="140" y="51"/>
                    </a:moveTo>
                    <a:cubicBezTo>
                      <a:pt x="142" y="51"/>
                      <a:pt x="144" y="53"/>
                      <a:pt x="144" y="55"/>
                    </a:cubicBezTo>
                    <a:cubicBezTo>
                      <a:pt x="144" y="58"/>
                      <a:pt x="142" y="60"/>
                      <a:pt x="140" y="60"/>
                    </a:cubicBezTo>
                    <a:cubicBezTo>
                      <a:pt x="137" y="60"/>
                      <a:pt x="135" y="58"/>
                      <a:pt x="135" y="55"/>
                    </a:cubicBezTo>
                    <a:cubicBezTo>
                      <a:pt x="135" y="53"/>
                      <a:pt x="137" y="51"/>
                      <a:pt x="140" y="51"/>
                    </a:cubicBezTo>
                    <a:close/>
                    <a:moveTo>
                      <a:pt x="178" y="9"/>
                    </a:moveTo>
                    <a:cubicBezTo>
                      <a:pt x="102" y="9"/>
                      <a:pt x="102" y="9"/>
                      <a:pt x="102" y="9"/>
                    </a:cubicBezTo>
                    <a:cubicBezTo>
                      <a:pt x="102" y="4"/>
                      <a:pt x="98" y="0"/>
                      <a:pt x="93" y="0"/>
                    </a:cubicBezTo>
                    <a:cubicBezTo>
                      <a:pt x="89" y="0"/>
                      <a:pt x="85" y="4"/>
                      <a:pt x="85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4" y="9"/>
                      <a:pt x="0" y="13"/>
                      <a:pt x="0" y="1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30"/>
                      <a:pt x="4" y="34"/>
                      <a:pt x="9" y="34"/>
                    </a:cubicBezTo>
                    <a:cubicBezTo>
                      <a:pt x="9" y="135"/>
                      <a:pt x="9" y="135"/>
                      <a:pt x="9" y="135"/>
                    </a:cubicBezTo>
                    <a:cubicBezTo>
                      <a:pt x="9" y="140"/>
                      <a:pt x="13" y="144"/>
                      <a:pt x="17" y="144"/>
                    </a:cubicBezTo>
                    <a:cubicBezTo>
                      <a:pt x="89" y="144"/>
                      <a:pt x="89" y="144"/>
                      <a:pt x="89" y="144"/>
                    </a:cubicBezTo>
                    <a:cubicBezTo>
                      <a:pt x="89" y="155"/>
                      <a:pt x="89" y="155"/>
                      <a:pt x="89" y="155"/>
                    </a:cubicBezTo>
                    <a:cubicBezTo>
                      <a:pt x="65" y="179"/>
                      <a:pt x="65" y="179"/>
                      <a:pt x="65" y="179"/>
                    </a:cubicBezTo>
                    <a:cubicBezTo>
                      <a:pt x="64" y="180"/>
                      <a:pt x="64" y="181"/>
                      <a:pt x="64" y="182"/>
                    </a:cubicBezTo>
                    <a:cubicBezTo>
                      <a:pt x="64" y="184"/>
                      <a:pt x="66" y="186"/>
                      <a:pt x="68" y="186"/>
                    </a:cubicBezTo>
                    <a:cubicBezTo>
                      <a:pt x="69" y="186"/>
                      <a:pt x="70" y="186"/>
                      <a:pt x="71" y="185"/>
                    </a:cubicBezTo>
                    <a:cubicBezTo>
                      <a:pt x="93" y="163"/>
                      <a:pt x="93" y="163"/>
                      <a:pt x="93" y="163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116" y="186"/>
                      <a:pt x="117" y="186"/>
                      <a:pt x="119" y="186"/>
                    </a:cubicBezTo>
                    <a:cubicBezTo>
                      <a:pt x="121" y="186"/>
                      <a:pt x="123" y="184"/>
                      <a:pt x="123" y="182"/>
                    </a:cubicBezTo>
                    <a:cubicBezTo>
                      <a:pt x="123" y="181"/>
                      <a:pt x="122" y="180"/>
                      <a:pt x="122" y="179"/>
                    </a:cubicBezTo>
                    <a:cubicBezTo>
                      <a:pt x="97" y="155"/>
                      <a:pt x="97" y="155"/>
                      <a:pt x="97" y="155"/>
                    </a:cubicBezTo>
                    <a:cubicBezTo>
                      <a:pt x="97" y="144"/>
                      <a:pt x="97" y="144"/>
                      <a:pt x="97" y="144"/>
                    </a:cubicBezTo>
                    <a:cubicBezTo>
                      <a:pt x="169" y="144"/>
                      <a:pt x="169" y="144"/>
                      <a:pt x="169" y="144"/>
                    </a:cubicBezTo>
                    <a:cubicBezTo>
                      <a:pt x="174" y="144"/>
                      <a:pt x="178" y="140"/>
                      <a:pt x="178" y="135"/>
                    </a:cubicBezTo>
                    <a:cubicBezTo>
                      <a:pt x="178" y="34"/>
                      <a:pt x="178" y="34"/>
                      <a:pt x="178" y="34"/>
                    </a:cubicBezTo>
                    <a:cubicBezTo>
                      <a:pt x="182" y="34"/>
                      <a:pt x="186" y="30"/>
                      <a:pt x="186" y="26"/>
                    </a:cubicBezTo>
                    <a:cubicBezTo>
                      <a:pt x="186" y="17"/>
                      <a:pt x="186" y="17"/>
                      <a:pt x="186" y="17"/>
                    </a:cubicBezTo>
                    <a:cubicBezTo>
                      <a:pt x="186" y="13"/>
                      <a:pt x="182" y="9"/>
                      <a:pt x="178" y="9"/>
                    </a:cubicBezTo>
                    <a:close/>
                    <a:moveTo>
                      <a:pt x="169" y="135"/>
                    </a:moveTo>
                    <a:cubicBezTo>
                      <a:pt x="17" y="135"/>
                      <a:pt x="17" y="135"/>
                      <a:pt x="17" y="135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169" y="34"/>
                      <a:pt x="169" y="34"/>
                      <a:pt x="169" y="34"/>
                    </a:cubicBezTo>
                    <a:lnTo>
                      <a:pt x="169" y="135"/>
                    </a:lnTo>
                    <a:close/>
                    <a:moveTo>
                      <a:pt x="178" y="26"/>
                    </a:moveTo>
                    <a:cubicBezTo>
                      <a:pt x="9" y="26"/>
                      <a:pt x="9" y="26"/>
                      <a:pt x="9" y="26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178" y="17"/>
                      <a:pt x="178" y="17"/>
                      <a:pt x="178" y="17"/>
                    </a:cubicBezTo>
                    <a:lnTo>
                      <a:pt x="178" y="26"/>
                    </a:lnTo>
                    <a:close/>
                    <a:moveTo>
                      <a:pt x="38" y="119"/>
                    </a:moveTo>
                    <a:cubicBezTo>
                      <a:pt x="148" y="119"/>
                      <a:pt x="148" y="119"/>
                      <a:pt x="148" y="119"/>
                    </a:cubicBezTo>
                    <a:cubicBezTo>
                      <a:pt x="150" y="119"/>
                      <a:pt x="152" y="117"/>
                      <a:pt x="152" y="114"/>
                    </a:cubicBezTo>
                    <a:cubicBezTo>
                      <a:pt x="152" y="113"/>
                      <a:pt x="152" y="113"/>
                      <a:pt x="151" y="112"/>
                    </a:cubicBezTo>
                    <a:cubicBezTo>
                      <a:pt x="151" y="112"/>
                      <a:pt x="151" y="112"/>
                      <a:pt x="151" y="112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5" y="77"/>
                      <a:pt x="124" y="76"/>
                      <a:pt x="123" y="76"/>
                    </a:cubicBezTo>
                    <a:cubicBezTo>
                      <a:pt x="122" y="76"/>
                      <a:pt x="121" y="77"/>
                      <a:pt x="120" y="78"/>
                    </a:cubicBezTo>
                    <a:cubicBezTo>
                      <a:pt x="106" y="92"/>
                      <a:pt x="106" y="92"/>
                      <a:pt x="106" y="92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74" y="60"/>
                      <a:pt x="73" y="60"/>
                      <a:pt x="72" y="60"/>
                    </a:cubicBezTo>
                    <a:cubicBezTo>
                      <a:pt x="71" y="60"/>
                      <a:pt x="69" y="60"/>
                      <a:pt x="69" y="61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35" y="112"/>
                      <a:pt x="35" y="112"/>
                      <a:pt x="35" y="112"/>
                    </a:cubicBezTo>
                    <a:cubicBezTo>
                      <a:pt x="35" y="112"/>
                      <a:pt x="35" y="112"/>
                      <a:pt x="35" y="112"/>
                    </a:cubicBezTo>
                    <a:cubicBezTo>
                      <a:pt x="34" y="113"/>
                      <a:pt x="34" y="114"/>
                      <a:pt x="34" y="114"/>
                    </a:cubicBezTo>
                    <a:cubicBezTo>
                      <a:pt x="34" y="117"/>
                      <a:pt x="36" y="119"/>
                      <a:pt x="38" y="119"/>
                    </a:cubicBezTo>
                    <a:close/>
                    <a:moveTo>
                      <a:pt x="73" y="70"/>
                    </a:move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1"/>
                      <a:pt x="105" y="102"/>
                      <a:pt x="106" y="102"/>
                    </a:cubicBezTo>
                    <a:cubicBezTo>
                      <a:pt x="107" y="102"/>
                      <a:pt x="108" y="101"/>
                      <a:pt x="109" y="101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40" y="110"/>
                      <a:pt x="140" y="110"/>
                      <a:pt x="140" y="110"/>
                    </a:cubicBezTo>
                    <a:cubicBezTo>
                      <a:pt x="46" y="110"/>
                      <a:pt x="46" y="110"/>
                      <a:pt x="46" y="110"/>
                    </a:cubicBezTo>
                    <a:lnTo>
                      <a:pt x="73" y="7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2FC4CF0-B9E4-5E86-C116-9E04E9B9EDB0}"/>
                </a:ext>
              </a:extLst>
            </p:cNvPr>
            <p:cNvSpPr/>
            <p:nvPr/>
          </p:nvSpPr>
          <p:spPr>
            <a:xfrm>
              <a:off x="2061371" y="2382242"/>
              <a:ext cx="1768170" cy="490268"/>
            </a:xfrm>
            <a:prstGeom prst="rect">
              <a:avLst/>
            </a:prstGeom>
            <a:noFill/>
            <a:ln w="63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40000"/>
                </a:lnSpc>
              </a:pPr>
              <a:r>
                <a:rPr lang="en-US" sz="2000" b="1">
                  <a:solidFill>
                    <a:schemeClr val="bg1"/>
                  </a:solidFill>
                  <a:latin typeface="Raleway"/>
                  <a:cs typeface="Raleway"/>
                </a:rPr>
                <a:t>Demo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62F4F9A-6697-6C80-3F61-3AEE9EA37D4E}"/>
              </a:ext>
            </a:extLst>
          </p:cNvPr>
          <p:cNvGrpSpPr/>
          <p:nvPr/>
        </p:nvGrpSpPr>
        <p:grpSpPr>
          <a:xfrm>
            <a:off x="6511589" y="2473141"/>
            <a:ext cx="1849411" cy="1530526"/>
            <a:chOff x="3672091" y="2473141"/>
            <a:chExt cx="1849411" cy="1530526"/>
          </a:xfrm>
        </p:grpSpPr>
        <p:grpSp>
          <p:nvGrpSpPr>
            <p:cNvPr id="7" name="Group 6"/>
            <p:cNvGrpSpPr/>
            <p:nvPr/>
          </p:nvGrpSpPr>
          <p:grpSpPr>
            <a:xfrm>
              <a:off x="4065314" y="2880859"/>
              <a:ext cx="1122808" cy="1122808"/>
              <a:chOff x="2580299" y="2821918"/>
              <a:chExt cx="1122808" cy="1122808"/>
            </a:xfrm>
          </p:grpSpPr>
          <p:sp>
            <p:nvSpPr>
              <p:cNvPr id="25" name="Oval 24"/>
              <p:cNvSpPr>
                <a:spLocks noChangeAspect="1"/>
              </p:cNvSpPr>
              <p:nvPr/>
            </p:nvSpPr>
            <p:spPr>
              <a:xfrm>
                <a:off x="2580299" y="2821918"/>
                <a:ext cx="1122808" cy="112280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Freeform 124"/>
              <p:cNvSpPr>
                <a:spLocks noEditPoints="1"/>
              </p:cNvSpPr>
              <p:nvPr/>
            </p:nvSpPr>
            <p:spPr bwMode="auto">
              <a:xfrm>
                <a:off x="2946988" y="3194308"/>
                <a:ext cx="358898" cy="357836"/>
              </a:xfrm>
              <a:custGeom>
                <a:avLst/>
                <a:gdLst>
                  <a:gd name="T0" fmla="*/ 41 w 186"/>
                  <a:gd name="T1" fmla="*/ 125 h 185"/>
                  <a:gd name="T2" fmla="*/ 45 w 186"/>
                  <a:gd name="T3" fmla="*/ 121 h 185"/>
                  <a:gd name="T4" fmla="*/ 46 w 186"/>
                  <a:gd name="T5" fmla="*/ 118 h 185"/>
                  <a:gd name="T6" fmla="*/ 42 w 186"/>
                  <a:gd name="T7" fmla="*/ 114 h 185"/>
                  <a:gd name="T8" fmla="*/ 39 w 186"/>
                  <a:gd name="T9" fmla="*/ 115 h 185"/>
                  <a:gd name="T10" fmla="*/ 35 w 186"/>
                  <a:gd name="T11" fmla="*/ 119 h 185"/>
                  <a:gd name="T12" fmla="*/ 34 w 186"/>
                  <a:gd name="T13" fmla="*/ 122 h 185"/>
                  <a:gd name="T14" fmla="*/ 38 w 186"/>
                  <a:gd name="T15" fmla="*/ 126 h 185"/>
                  <a:gd name="T16" fmla="*/ 41 w 186"/>
                  <a:gd name="T17" fmla="*/ 125 h 185"/>
                  <a:gd name="T18" fmla="*/ 67 w 186"/>
                  <a:gd name="T19" fmla="*/ 122 h 185"/>
                  <a:gd name="T20" fmla="*/ 63 w 186"/>
                  <a:gd name="T21" fmla="*/ 118 h 185"/>
                  <a:gd name="T22" fmla="*/ 60 w 186"/>
                  <a:gd name="T23" fmla="*/ 119 h 185"/>
                  <a:gd name="T24" fmla="*/ 18 w 186"/>
                  <a:gd name="T25" fmla="*/ 161 h 185"/>
                  <a:gd name="T26" fmla="*/ 17 w 186"/>
                  <a:gd name="T27" fmla="*/ 164 h 185"/>
                  <a:gd name="T28" fmla="*/ 21 w 186"/>
                  <a:gd name="T29" fmla="*/ 168 h 185"/>
                  <a:gd name="T30" fmla="*/ 24 w 186"/>
                  <a:gd name="T31" fmla="*/ 167 h 185"/>
                  <a:gd name="T32" fmla="*/ 66 w 186"/>
                  <a:gd name="T33" fmla="*/ 125 h 185"/>
                  <a:gd name="T34" fmla="*/ 67 w 186"/>
                  <a:gd name="T35" fmla="*/ 122 h 185"/>
                  <a:gd name="T36" fmla="*/ 186 w 186"/>
                  <a:gd name="T37" fmla="*/ 4 h 185"/>
                  <a:gd name="T38" fmla="*/ 181 w 186"/>
                  <a:gd name="T39" fmla="*/ 0 h 185"/>
                  <a:gd name="T40" fmla="*/ 180 w 186"/>
                  <a:gd name="T41" fmla="*/ 0 h 185"/>
                  <a:gd name="T42" fmla="*/ 180 w 186"/>
                  <a:gd name="T43" fmla="*/ 0 h 185"/>
                  <a:gd name="T44" fmla="*/ 3 w 186"/>
                  <a:gd name="T45" fmla="*/ 76 h 185"/>
                  <a:gd name="T46" fmla="*/ 2 w 186"/>
                  <a:gd name="T47" fmla="*/ 76 h 185"/>
                  <a:gd name="T48" fmla="*/ 2 w 186"/>
                  <a:gd name="T49" fmla="*/ 76 h 185"/>
                  <a:gd name="T50" fmla="*/ 2 w 186"/>
                  <a:gd name="T51" fmla="*/ 76 h 185"/>
                  <a:gd name="T52" fmla="*/ 0 w 186"/>
                  <a:gd name="T53" fmla="*/ 80 h 185"/>
                  <a:gd name="T54" fmla="*/ 3 w 186"/>
                  <a:gd name="T55" fmla="*/ 84 h 185"/>
                  <a:gd name="T56" fmla="*/ 3 w 186"/>
                  <a:gd name="T57" fmla="*/ 84 h 185"/>
                  <a:gd name="T58" fmla="*/ 73 w 186"/>
                  <a:gd name="T59" fmla="*/ 113 h 185"/>
                  <a:gd name="T60" fmla="*/ 101 w 186"/>
                  <a:gd name="T61" fmla="*/ 182 h 185"/>
                  <a:gd name="T62" fmla="*/ 101 w 186"/>
                  <a:gd name="T63" fmla="*/ 182 h 185"/>
                  <a:gd name="T64" fmla="*/ 105 w 186"/>
                  <a:gd name="T65" fmla="*/ 185 h 185"/>
                  <a:gd name="T66" fmla="*/ 109 w 186"/>
                  <a:gd name="T67" fmla="*/ 183 h 185"/>
                  <a:gd name="T68" fmla="*/ 109 w 186"/>
                  <a:gd name="T69" fmla="*/ 183 h 185"/>
                  <a:gd name="T70" fmla="*/ 109 w 186"/>
                  <a:gd name="T71" fmla="*/ 183 h 185"/>
                  <a:gd name="T72" fmla="*/ 109 w 186"/>
                  <a:gd name="T73" fmla="*/ 183 h 185"/>
                  <a:gd name="T74" fmla="*/ 185 w 186"/>
                  <a:gd name="T75" fmla="*/ 6 h 185"/>
                  <a:gd name="T76" fmla="*/ 185 w 186"/>
                  <a:gd name="T77" fmla="*/ 6 h 185"/>
                  <a:gd name="T78" fmla="*/ 186 w 186"/>
                  <a:gd name="T79" fmla="*/ 4 h 185"/>
                  <a:gd name="T80" fmla="*/ 15 w 186"/>
                  <a:gd name="T81" fmla="*/ 80 h 185"/>
                  <a:gd name="T82" fmla="*/ 163 w 186"/>
                  <a:gd name="T83" fmla="*/ 16 h 185"/>
                  <a:gd name="T84" fmla="*/ 75 w 186"/>
                  <a:gd name="T85" fmla="*/ 104 h 185"/>
                  <a:gd name="T86" fmla="*/ 15 w 186"/>
                  <a:gd name="T87" fmla="*/ 80 h 185"/>
                  <a:gd name="T88" fmla="*/ 105 w 186"/>
                  <a:gd name="T89" fmla="*/ 170 h 185"/>
                  <a:gd name="T90" fmla="*/ 81 w 186"/>
                  <a:gd name="T91" fmla="*/ 110 h 185"/>
                  <a:gd name="T92" fmla="*/ 169 w 186"/>
                  <a:gd name="T93" fmla="*/ 22 h 185"/>
                  <a:gd name="T94" fmla="*/ 105 w 186"/>
                  <a:gd name="T95" fmla="*/ 170 h 185"/>
                  <a:gd name="T96" fmla="*/ 67 w 186"/>
                  <a:gd name="T97" fmla="*/ 139 h 185"/>
                  <a:gd name="T98" fmla="*/ 64 w 186"/>
                  <a:gd name="T99" fmla="*/ 140 h 185"/>
                  <a:gd name="T100" fmla="*/ 52 w 186"/>
                  <a:gd name="T101" fmla="*/ 153 h 185"/>
                  <a:gd name="T102" fmla="*/ 51 w 186"/>
                  <a:gd name="T103" fmla="*/ 156 h 185"/>
                  <a:gd name="T104" fmla="*/ 55 w 186"/>
                  <a:gd name="T105" fmla="*/ 160 h 185"/>
                  <a:gd name="T106" fmla="*/ 58 w 186"/>
                  <a:gd name="T107" fmla="*/ 159 h 185"/>
                  <a:gd name="T108" fmla="*/ 70 w 186"/>
                  <a:gd name="T109" fmla="*/ 146 h 185"/>
                  <a:gd name="T110" fmla="*/ 72 w 186"/>
                  <a:gd name="T111" fmla="*/ 143 h 185"/>
                  <a:gd name="T112" fmla="*/ 67 w 186"/>
                  <a:gd name="T113" fmla="*/ 139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6" h="185">
                    <a:moveTo>
                      <a:pt x="41" y="125"/>
                    </a:moveTo>
                    <a:cubicBezTo>
                      <a:pt x="45" y="121"/>
                      <a:pt x="45" y="121"/>
                      <a:pt x="45" y="121"/>
                    </a:cubicBezTo>
                    <a:cubicBezTo>
                      <a:pt x="46" y="120"/>
                      <a:pt x="46" y="119"/>
                      <a:pt x="46" y="118"/>
                    </a:cubicBezTo>
                    <a:cubicBezTo>
                      <a:pt x="46" y="116"/>
                      <a:pt x="44" y="114"/>
                      <a:pt x="42" y="114"/>
                    </a:cubicBezTo>
                    <a:cubicBezTo>
                      <a:pt x="41" y="114"/>
                      <a:pt x="40" y="114"/>
                      <a:pt x="39" y="115"/>
                    </a:cubicBezTo>
                    <a:cubicBezTo>
                      <a:pt x="35" y="119"/>
                      <a:pt x="35" y="119"/>
                      <a:pt x="35" y="119"/>
                    </a:cubicBezTo>
                    <a:cubicBezTo>
                      <a:pt x="34" y="120"/>
                      <a:pt x="34" y="121"/>
                      <a:pt x="34" y="122"/>
                    </a:cubicBezTo>
                    <a:cubicBezTo>
                      <a:pt x="34" y="124"/>
                      <a:pt x="36" y="126"/>
                      <a:pt x="38" y="126"/>
                    </a:cubicBezTo>
                    <a:cubicBezTo>
                      <a:pt x="39" y="126"/>
                      <a:pt x="40" y="126"/>
                      <a:pt x="41" y="125"/>
                    </a:cubicBezTo>
                    <a:close/>
                    <a:moveTo>
                      <a:pt x="67" y="122"/>
                    </a:moveTo>
                    <a:cubicBezTo>
                      <a:pt x="67" y="120"/>
                      <a:pt x="66" y="118"/>
                      <a:pt x="63" y="118"/>
                    </a:cubicBezTo>
                    <a:cubicBezTo>
                      <a:pt x="62" y="118"/>
                      <a:pt x="61" y="118"/>
                      <a:pt x="60" y="119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7" y="162"/>
                      <a:pt x="17" y="163"/>
                      <a:pt x="17" y="164"/>
                    </a:cubicBezTo>
                    <a:cubicBezTo>
                      <a:pt x="17" y="167"/>
                      <a:pt x="19" y="168"/>
                      <a:pt x="21" y="168"/>
                    </a:cubicBezTo>
                    <a:cubicBezTo>
                      <a:pt x="22" y="168"/>
                      <a:pt x="23" y="168"/>
                      <a:pt x="24" y="167"/>
                    </a:cubicBezTo>
                    <a:cubicBezTo>
                      <a:pt x="66" y="125"/>
                      <a:pt x="66" y="125"/>
                      <a:pt x="66" y="125"/>
                    </a:cubicBezTo>
                    <a:cubicBezTo>
                      <a:pt x="67" y="124"/>
                      <a:pt x="67" y="123"/>
                      <a:pt x="67" y="122"/>
                    </a:cubicBezTo>
                    <a:close/>
                    <a:moveTo>
                      <a:pt x="186" y="4"/>
                    </a:moveTo>
                    <a:cubicBezTo>
                      <a:pt x="186" y="2"/>
                      <a:pt x="184" y="0"/>
                      <a:pt x="181" y="0"/>
                    </a:cubicBezTo>
                    <a:cubicBezTo>
                      <a:pt x="181" y="0"/>
                      <a:pt x="180" y="0"/>
                      <a:pt x="180" y="0"/>
                    </a:cubicBezTo>
                    <a:cubicBezTo>
                      <a:pt x="180" y="0"/>
                      <a:pt x="180" y="0"/>
                      <a:pt x="180" y="0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3" y="76"/>
                      <a:pt x="2" y="76"/>
                    </a:cubicBezTo>
                    <a:cubicBezTo>
                      <a:pt x="2" y="76"/>
                      <a:pt x="2" y="76"/>
                      <a:pt x="2" y="76"/>
                    </a:cubicBezTo>
                    <a:cubicBezTo>
                      <a:pt x="2" y="76"/>
                      <a:pt x="2" y="76"/>
                      <a:pt x="2" y="76"/>
                    </a:cubicBezTo>
                    <a:cubicBezTo>
                      <a:pt x="1" y="77"/>
                      <a:pt x="0" y="78"/>
                      <a:pt x="0" y="80"/>
                    </a:cubicBezTo>
                    <a:cubicBezTo>
                      <a:pt x="0" y="82"/>
                      <a:pt x="1" y="83"/>
                      <a:pt x="3" y="84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101" y="182"/>
                      <a:pt x="101" y="182"/>
                      <a:pt x="101" y="182"/>
                    </a:cubicBezTo>
                    <a:cubicBezTo>
                      <a:pt x="101" y="182"/>
                      <a:pt x="101" y="182"/>
                      <a:pt x="101" y="182"/>
                    </a:cubicBezTo>
                    <a:cubicBezTo>
                      <a:pt x="102" y="184"/>
                      <a:pt x="103" y="185"/>
                      <a:pt x="105" y="185"/>
                    </a:cubicBezTo>
                    <a:cubicBezTo>
                      <a:pt x="107" y="185"/>
                      <a:pt x="109" y="184"/>
                      <a:pt x="109" y="183"/>
                    </a:cubicBezTo>
                    <a:cubicBezTo>
                      <a:pt x="109" y="183"/>
                      <a:pt x="109" y="183"/>
                      <a:pt x="109" y="183"/>
                    </a:cubicBezTo>
                    <a:cubicBezTo>
                      <a:pt x="109" y="183"/>
                      <a:pt x="109" y="183"/>
                      <a:pt x="109" y="183"/>
                    </a:cubicBezTo>
                    <a:cubicBezTo>
                      <a:pt x="109" y="183"/>
                      <a:pt x="109" y="183"/>
                      <a:pt x="109" y="183"/>
                    </a:cubicBezTo>
                    <a:cubicBezTo>
                      <a:pt x="185" y="6"/>
                      <a:pt x="185" y="6"/>
                      <a:pt x="185" y="6"/>
                    </a:cubicBezTo>
                    <a:cubicBezTo>
                      <a:pt x="185" y="6"/>
                      <a:pt x="185" y="6"/>
                      <a:pt x="185" y="6"/>
                    </a:cubicBezTo>
                    <a:cubicBezTo>
                      <a:pt x="185" y="5"/>
                      <a:pt x="186" y="5"/>
                      <a:pt x="186" y="4"/>
                    </a:cubicBezTo>
                    <a:close/>
                    <a:moveTo>
                      <a:pt x="15" y="80"/>
                    </a:moveTo>
                    <a:cubicBezTo>
                      <a:pt x="163" y="16"/>
                      <a:pt x="163" y="16"/>
                      <a:pt x="163" y="16"/>
                    </a:cubicBezTo>
                    <a:cubicBezTo>
                      <a:pt x="75" y="104"/>
                      <a:pt x="75" y="104"/>
                      <a:pt x="75" y="104"/>
                    </a:cubicBezTo>
                    <a:lnTo>
                      <a:pt x="15" y="80"/>
                    </a:lnTo>
                    <a:close/>
                    <a:moveTo>
                      <a:pt x="105" y="170"/>
                    </a:moveTo>
                    <a:cubicBezTo>
                      <a:pt x="81" y="110"/>
                      <a:pt x="81" y="110"/>
                      <a:pt x="81" y="110"/>
                    </a:cubicBezTo>
                    <a:cubicBezTo>
                      <a:pt x="169" y="22"/>
                      <a:pt x="169" y="22"/>
                      <a:pt x="169" y="22"/>
                    </a:cubicBezTo>
                    <a:lnTo>
                      <a:pt x="105" y="170"/>
                    </a:lnTo>
                    <a:close/>
                    <a:moveTo>
                      <a:pt x="67" y="139"/>
                    </a:moveTo>
                    <a:cubicBezTo>
                      <a:pt x="66" y="139"/>
                      <a:pt x="65" y="139"/>
                      <a:pt x="64" y="140"/>
                    </a:cubicBezTo>
                    <a:cubicBezTo>
                      <a:pt x="52" y="153"/>
                      <a:pt x="52" y="153"/>
                      <a:pt x="52" y="153"/>
                    </a:cubicBezTo>
                    <a:cubicBezTo>
                      <a:pt x="51" y="154"/>
                      <a:pt x="51" y="155"/>
                      <a:pt x="51" y="156"/>
                    </a:cubicBezTo>
                    <a:cubicBezTo>
                      <a:pt x="51" y="158"/>
                      <a:pt x="52" y="160"/>
                      <a:pt x="55" y="160"/>
                    </a:cubicBezTo>
                    <a:cubicBezTo>
                      <a:pt x="56" y="160"/>
                      <a:pt x="57" y="160"/>
                      <a:pt x="58" y="159"/>
                    </a:cubicBezTo>
                    <a:cubicBezTo>
                      <a:pt x="70" y="146"/>
                      <a:pt x="70" y="146"/>
                      <a:pt x="70" y="146"/>
                    </a:cubicBezTo>
                    <a:cubicBezTo>
                      <a:pt x="71" y="145"/>
                      <a:pt x="72" y="144"/>
                      <a:pt x="72" y="143"/>
                    </a:cubicBezTo>
                    <a:cubicBezTo>
                      <a:pt x="72" y="141"/>
                      <a:pt x="70" y="139"/>
                      <a:pt x="67" y="13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9EDB6F3-54EA-2DE6-7187-1E7A6F8B547C}"/>
                </a:ext>
              </a:extLst>
            </p:cNvPr>
            <p:cNvSpPr/>
            <p:nvPr/>
          </p:nvSpPr>
          <p:spPr>
            <a:xfrm>
              <a:off x="3672091" y="2473141"/>
              <a:ext cx="1849411" cy="306210"/>
            </a:xfrm>
            <a:prstGeom prst="rect">
              <a:avLst/>
            </a:prstGeom>
            <a:noFill/>
            <a:ln w="63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40000"/>
                </a:lnSpc>
              </a:pPr>
              <a:r>
                <a:rPr lang="en-US" sz="2000" b="1">
                  <a:solidFill>
                    <a:schemeClr val="bg1"/>
                  </a:solidFill>
                  <a:latin typeface="Raleway"/>
                  <a:cs typeface="Raleway"/>
                </a:rPr>
                <a:t>Data Forma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5431748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e – Non-functional Requir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</a:t>
            </a:fld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782919" y="1069119"/>
            <a:ext cx="499036" cy="499036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365663" y="1217692"/>
            <a:ext cx="32063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Change business logic without having to change adapters or infrastructure. Replace / introduce different infrastructure elements.</a:t>
            </a:r>
          </a:p>
        </p:txBody>
      </p:sp>
      <p:sp>
        <p:nvSpPr>
          <p:cNvPr id="7" name="Rectangle 6"/>
          <p:cNvSpPr/>
          <p:nvPr/>
        </p:nvSpPr>
        <p:spPr>
          <a:xfrm>
            <a:off x="1365663" y="1015289"/>
            <a:ext cx="94769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Raleway" panose="020B0003030101060003" pitchFamily="34" charset="0"/>
              </a:rPr>
              <a:t>Modifiability</a:t>
            </a:r>
          </a:p>
        </p:txBody>
      </p:sp>
      <p:sp>
        <p:nvSpPr>
          <p:cNvPr id="8" name="Oval 7"/>
          <p:cNvSpPr/>
          <p:nvPr/>
        </p:nvSpPr>
        <p:spPr>
          <a:xfrm>
            <a:off x="782919" y="1942166"/>
            <a:ext cx="499036" cy="499036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Calibri Light" panose="020F0302020204030204" pitchFamily="34" charset="0"/>
              </a:rPr>
              <a:t>2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365663" y="2090739"/>
            <a:ext cx="32063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Code Analysis based on 3</a:t>
            </a:r>
            <a:r>
              <a:rPr lang="en-US" sz="1000" baseline="30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rd</a:t>
            </a:r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 party libraries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365663" y="1888336"/>
            <a:ext cx="93968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Raleway" panose="020B0003030101060003" pitchFamily="34" charset="0"/>
              </a:rPr>
              <a:t>Adaptability</a:t>
            </a:r>
          </a:p>
        </p:txBody>
      </p:sp>
      <p:sp>
        <p:nvSpPr>
          <p:cNvPr id="11" name="Oval 10"/>
          <p:cNvSpPr/>
          <p:nvPr/>
        </p:nvSpPr>
        <p:spPr>
          <a:xfrm>
            <a:off x="782919" y="2815213"/>
            <a:ext cx="499036" cy="499036"/>
          </a:xfrm>
          <a:prstGeom prst="ellipse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Calibri Light" panose="020F0302020204030204" pitchFamily="34" charset="0"/>
              </a:rPr>
              <a:t>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365663" y="2963786"/>
            <a:ext cx="32063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Maybe more services will be implmented that can interoperate with the application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365663" y="2761383"/>
            <a:ext cx="934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Raleway" panose="020B0003030101060003" pitchFamily="34" charset="0"/>
              </a:rPr>
              <a:t>Extensibility</a:t>
            </a:r>
          </a:p>
        </p:txBody>
      </p:sp>
      <p:sp>
        <p:nvSpPr>
          <p:cNvPr id="14" name="Oval 13"/>
          <p:cNvSpPr/>
          <p:nvPr/>
        </p:nvSpPr>
        <p:spPr>
          <a:xfrm>
            <a:off x="767535" y="3688260"/>
            <a:ext cx="499036" cy="499036"/>
          </a:xfrm>
          <a:prstGeom prst="ellipse">
            <a:avLst/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Calibri Light" panose="020F0302020204030204" pitchFamily="34" charset="0"/>
              </a:rPr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50279" y="3836833"/>
            <a:ext cx="32063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The application is about visualization.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350279" y="3634430"/>
            <a:ext cx="72487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Raleway" panose="020B0003030101060003" pitchFamily="34" charset="0"/>
              </a:rPr>
              <a:t>Usability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870824" y="1069119"/>
            <a:ext cx="3744071" cy="31654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282C69A-FC0B-756C-7888-1A6010516D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934" r="3291"/>
          <a:stretch/>
        </p:blipFill>
        <p:spPr>
          <a:xfrm>
            <a:off x="4870823" y="1051040"/>
            <a:ext cx="3815977" cy="3357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025104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6D4B07-A06C-F678-DAA4-B4048F9B85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6D4B07-A06C-F678-DAA4-B4048F9B85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46801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3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6433651" y="-584362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7792" y="130724"/>
            <a:ext cx="6730247" cy="334888"/>
          </a:xfrm>
        </p:spPr>
        <p:txBody>
          <a:bodyPr vert="horz">
            <a:normAutofit/>
          </a:bodyPr>
          <a:lstStyle/>
          <a:p>
            <a:r>
              <a:rPr lang="en-US"/>
              <a:t>Service Granularity &amp; Data Access &amp; Coupling</a:t>
            </a:r>
            <a:endParaRPr lang="en-US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DEC492A-3381-0F67-D140-861AACEAA559}"/>
              </a:ext>
            </a:extLst>
          </p:cNvPr>
          <p:cNvSpPr/>
          <p:nvPr/>
        </p:nvSpPr>
        <p:spPr>
          <a:xfrm rot="16200000">
            <a:off x="1747907" y="658868"/>
            <a:ext cx="1284616" cy="2394335"/>
          </a:xfrm>
          <a:prstGeom prst="rect">
            <a:avLst/>
          </a:prstGeom>
          <a:solidFill>
            <a:schemeClr val="accent1">
              <a:lumMod val="20000"/>
              <a:lumOff val="80000"/>
              <a:alpha val="8000"/>
            </a:schemeClr>
          </a:solidFill>
          <a:ln w="19050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CB309BB-4AB2-891C-3944-565B400C78CF}"/>
              </a:ext>
            </a:extLst>
          </p:cNvPr>
          <p:cNvCxnSpPr>
            <a:cxnSpLocks/>
          </p:cNvCxnSpPr>
          <p:nvPr/>
        </p:nvCxnSpPr>
        <p:spPr>
          <a:xfrm flipH="1">
            <a:off x="1843422" y="1624805"/>
            <a:ext cx="1026836" cy="0"/>
          </a:xfrm>
          <a:prstGeom prst="line">
            <a:avLst/>
          </a:prstGeom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53C0C8EC-8DC1-21AA-856A-A48158B73BFC}"/>
              </a:ext>
            </a:extLst>
          </p:cNvPr>
          <p:cNvSpPr txBox="1"/>
          <p:nvPr/>
        </p:nvSpPr>
        <p:spPr>
          <a:xfrm>
            <a:off x="1193045" y="1286250"/>
            <a:ext cx="2331685" cy="348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  <a:latin typeface="Raleway"/>
                <a:cs typeface="Raleway"/>
              </a:rPr>
              <a:t>Service Functionalit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858C019-9FD3-3C4E-0C04-2DF318AF0976}"/>
              </a:ext>
            </a:extLst>
          </p:cNvPr>
          <p:cNvSpPr txBox="1"/>
          <p:nvPr/>
        </p:nvSpPr>
        <p:spPr>
          <a:xfrm>
            <a:off x="1469101" y="1718945"/>
            <a:ext cx="17754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Visualization and </a:t>
            </a:r>
            <a:b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</a:br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Data Analys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887F75-C051-F328-51A0-A41EE10437F9}"/>
              </a:ext>
            </a:extLst>
          </p:cNvPr>
          <p:cNvSpPr/>
          <p:nvPr/>
        </p:nvSpPr>
        <p:spPr>
          <a:xfrm rot="16200000">
            <a:off x="1741824" y="2282041"/>
            <a:ext cx="1284616" cy="2394335"/>
          </a:xfrm>
          <a:prstGeom prst="rect">
            <a:avLst/>
          </a:prstGeom>
          <a:solidFill>
            <a:schemeClr val="accent1">
              <a:lumMod val="20000"/>
              <a:lumOff val="80000"/>
              <a:alpha val="8000"/>
            </a:schemeClr>
          </a:solidFill>
          <a:ln w="19050" cmpd="sng"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>
                  <a:lumMod val="75000"/>
                </a:schemeClr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34AF82D-B703-68FA-B6EA-3889A25A2F48}"/>
              </a:ext>
            </a:extLst>
          </p:cNvPr>
          <p:cNvCxnSpPr>
            <a:cxnSpLocks/>
          </p:cNvCxnSpPr>
          <p:nvPr/>
        </p:nvCxnSpPr>
        <p:spPr>
          <a:xfrm flipH="1">
            <a:off x="1837339" y="3247978"/>
            <a:ext cx="1026836" cy="0"/>
          </a:xfrm>
          <a:prstGeom prst="line">
            <a:avLst/>
          </a:prstGeom>
          <a:ln w="19050" cmpd="sng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42800D1-AC9D-7525-0862-D9AE06AEC6C3}"/>
              </a:ext>
            </a:extLst>
          </p:cNvPr>
          <p:cNvSpPr txBox="1"/>
          <p:nvPr/>
        </p:nvSpPr>
        <p:spPr>
          <a:xfrm>
            <a:off x="1186962" y="2909423"/>
            <a:ext cx="2331685" cy="348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3">
                    <a:lumMod val="75000"/>
                  </a:schemeClr>
                </a:solidFill>
                <a:latin typeface="Raleway"/>
                <a:cs typeface="Raleway"/>
              </a:rPr>
              <a:t>Extensi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73CBE6-A976-91AE-270C-8E88378B95BF}"/>
              </a:ext>
            </a:extLst>
          </p:cNvPr>
          <p:cNvSpPr txBox="1"/>
          <p:nvPr/>
        </p:nvSpPr>
        <p:spPr>
          <a:xfrm>
            <a:off x="1463018" y="3342118"/>
            <a:ext cx="17754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Separating the services by functionality enables easier extensibilit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717A06-D2ED-69D4-1086-EEDC19B8F4A3}"/>
              </a:ext>
            </a:extLst>
          </p:cNvPr>
          <p:cNvSpPr/>
          <p:nvPr/>
        </p:nvSpPr>
        <p:spPr>
          <a:xfrm rot="16200000">
            <a:off x="6111479" y="654184"/>
            <a:ext cx="1284616" cy="2394335"/>
          </a:xfrm>
          <a:prstGeom prst="rect">
            <a:avLst/>
          </a:prstGeom>
          <a:solidFill>
            <a:schemeClr val="bg1">
              <a:alpha val="8000"/>
            </a:schemeClr>
          </a:solidFill>
          <a:ln w="19050" cmpd="sng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332BA58-199A-AD17-06AD-5DA081F2ED1F}"/>
              </a:ext>
            </a:extLst>
          </p:cNvPr>
          <p:cNvCxnSpPr>
            <a:cxnSpLocks/>
          </p:cNvCxnSpPr>
          <p:nvPr/>
        </p:nvCxnSpPr>
        <p:spPr>
          <a:xfrm flipH="1">
            <a:off x="6206994" y="1620121"/>
            <a:ext cx="1026836" cy="0"/>
          </a:xfrm>
          <a:prstGeom prst="line">
            <a:avLst/>
          </a:prstGeom>
          <a:ln w="19050" cmpd="sng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2E73166-C337-DF95-DDBF-722B00D19FE1}"/>
              </a:ext>
            </a:extLst>
          </p:cNvPr>
          <p:cNvSpPr txBox="1"/>
          <p:nvPr/>
        </p:nvSpPr>
        <p:spPr>
          <a:xfrm>
            <a:off x="5554580" y="1272176"/>
            <a:ext cx="2331685" cy="348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5">
                    <a:lumMod val="75000"/>
                  </a:schemeClr>
                </a:solidFill>
                <a:latin typeface="Raleway"/>
                <a:cs typeface="Raleway"/>
              </a:rPr>
              <a:t>Data Acces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4897DCA-161D-7EE2-A087-EC3FB792CEB2}"/>
              </a:ext>
            </a:extLst>
          </p:cNvPr>
          <p:cNvSpPr txBox="1"/>
          <p:nvPr/>
        </p:nvSpPr>
        <p:spPr>
          <a:xfrm>
            <a:off x="5818370" y="1723497"/>
            <a:ext cx="18964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Interservice</a:t>
            </a:r>
            <a:b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</a:br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Communication pattern,</a:t>
            </a:r>
          </a:p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No data persisted for now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B1B63C-0E6B-E145-09B6-B4186B62A9B7}"/>
              </a:ext>
            </a:extLst>
          </p:cNvPr>
          <p:cNvSpPr/>
          <p:nvPr/>
        </p:nvSpPr>
        <p:spPr>
          <a:xfrm rot="16200000">
            <a:off x="6109442" y="2282041"/>
            <a:ext cx="1284616" cy="2394335"/>
          </a:xfrm>
          <a:prstGeom prst="rect">
            <a:avLst/>
          </a:prstGeom>
          <a:solidFill>
            <a:schemeClr val="accent1">
              <a:lumMod val="20000"/>
              <a:lumOff val="80000"/>
              <a:alpha val="8000"/>
            </a:schemeClr>
          </a:solidFill>
          <a:ln w="19050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7C51721-1676-68D1-B0CF-0ADB0B53781F}"/>
              </a:ext>
            </a:extLst>
          </p:cNvPr>
          <p:cNvCxnSpPr>
            <a:cxnSpLocks/>
          </p:cNvCxnSpPr>
          <p:nvPr/>
        </p:nvCxnSpPr>
        <p:spPr>
          <a:xfrm flipH="1">
            <a:off x="6204957" y="3247978"/>
            <a:ext cx="1026836" cy="0"/>
          </a:xfrm>
          <a:prstGeom prst="line">
            <a:avLst/>
          </a:prstGeom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0855A8B5-ACCD-D986-FF53-156238B9AD63}"/>
              </a:ext>
            </a:extLst>
          </p:cNvPr>
          <p:cNvSpPr txBox="1"/>
          <p:nvPr/>
        </p:nvSpPr>
        <p:spPr>
          <a:xfrm>
            <a:off x="5554580" y="2909423"/>
            <a:ext cx="2331685" cy="348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  <a:latin typeface="Raleway"/>
                <a:cs typeface="Raleway"/>
              </a:rPr>
              <a:t>Data Relationshi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0EE492-4088-F2EC-8CAE-42C9AB107FA9}"/>
              </a:ext>
            </a:extLst>
          </p:cNvPr>
          <p:cNvSpPr txBox="1"/>
          <p:nvPr/>
        </p:nvSpPr>
        <p:spPr>
          <a:xfrm>
            <a:off x="5830636" y="3342118"/>
            <a:ext cx="17754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Maintaining a target data format for different kinds of input data</a:t>
            </a:r>
          </a:p>
        </p:txBody>
      </p:sp>
    </p:spTree>
    <p:extLst>
      <p:ext uri="{BB962C8B-B14F-4D97-AF65-F5344CB8AC3E}">
        <p14:creationId xmlns:p14="http://schemas.microsoft.com/office/powerpoint/2010/main" val="814382819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e – Bounded Contex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</a:t>
            </a:fld>
            <a:endParaRPr lang="en-US"/>
          </a:p>
        </p:txBody>
      </p:sp>
      <p:pic>
        <p:nvPicPr>
          <p:cNvPr id="5" name="Picture 4" descr="A diagram of data processing&#10;&#10;Description automatically generated">
            <a:extLst>
              <a:ext uri="{FF2B5EF4-FFF2-40B4-BE49-F238E27FC236}">
                <a16:creationId xmlns:a16="http://schemas.microsoft.com/office/drawing/2014/main" id="{6726A877-B29F-2FAC-F9AB-19F7980BBD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587" y="710850"/>
            <a:ext cx="7118826" cy="3839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251107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COMPA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5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0" y="-92360"/>
            <a:ext cx="9144000" cy="36277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0" y="-92360"/>
            <a:ext cx="9144000" cy="3627718"/>
          </a:xfrm>
          <a:prstGeom prst="rect">
            <a:avLst/>
          </a:prstGeom>
          <a:solidFill>
            <a:schemeClr val="tx2">
              <a:lumMod val="50000"/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/>
        </p:nvSpPr>
        <p:spPr>
          <a:xfrm>
            <a:off x="1871303" y="1532365"/>
            <a:ext cx="5856160" cy="1602951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>
                <a:solidFill>
                  <a:schemeClr val="bg1"/>
                </a:solidFill>
                <a:latin typeface="Raleway"/>
                <a:cs typeface="Raleway"/>
              </a:rPr>
              <a:t>Demo</a:t>
            </a:r>
            <a:endParaRPr lang="en-US" sz="2800" b="1" i="1">
              <a:solidFill>
                <a:schemeClr val="bg1"/>
              </a:solidFill>
              <a:latin typeface="Raleway"/>
              <a:cs typeface="Raleway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latin typeface="Raleway"/>
                <a:cs typeface="Raleway"/>
              </a:rPr>
              <a:t>Data-Analyzer workflo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latin typeface="Raleway"/>
                <a:cs typeface="Raleway"/>
              </a:rPr>
              <a:t>Visualizer workflow</a:t>
            </a:r>
          </a:p>
        </p:txBody>
      </p:sp>
      <p:pic>
        <p:nvPicPr>
          <p:cNvPr id="22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202" y="179672"/>
            <a:ext cx="1345598" cy="285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3468260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Forma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6</a:t>
            </a:fld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86DC0B5-EDB1-46FC-8436-BD0DBCCCA628}"/>
              </a:ext>
            </a:extLst>
          </p:cNvPr>
          <p:cNvSpPr txBox="1"/>
          <p:nvPr/>
        </p:nvSpPr>
        <p:spPr>
          <a:xfrm>
            <a:off x="5464253" y="2490609"/>
            <a:ext cx="1308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round, rectangular, etc.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92BAE02-6385-8942-92D5-A051C40EDAA7}"/>
              </a:ext>
            </a:extLst>
          </p:cNvPr>
          <p:cNvSpPr/>
          <p:nvPr/>
        </p:nvSpPr>
        <p:spPr>
          <a:xfrm>
            <a:off x="5728572" y="2211261"/>
            <a:ext cx="7793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shap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420BA3E-AEE8-D4B3-1143-6CCF7DEE6FBF}"/>
              </a:ext>
            </a:extLst>
          </p:cNvPr>
          <p:cNvSpPr txBox="1"/>
          <p:nvPr/>
        </p:nvSpPr>
        <p:spPr>
          <a:xfrm>
            <a:off x="7245618" y="2495657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length of the elemen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01DA73B-F2D6-7F95-44D5-167670AAD0FD}"/>
              </a:ext>
            </a:extLst>
          </p:cNvPr>
          <p:cNvSpPr/>
          <p:nvPr/>
        </p:nvSpPr>
        <p:spPr>
          <a:xfrm>
            <a:off x="7485089" y="2216309"/>
            <a:ext cx="8290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length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8EA1908-7239-926F-E1CC-A5B6B4BE19C5}"/>
              </a:ext>
            </a:extLst>
          </p:cNvPr>
          <p:cNvSpPr txBox="1"/>
          <p:nvPr/>
        </p:nvSpPr>
        <p:spPr>
          <a:xfrm>
            <a:off x="1281295" y="3739179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width of the elemen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6577D96-A445-2FDF-A60F-271A15B8F8F9}"/>
              </a:ext>
            </a:extLst>
          </p:cNvPr>
          <p:cNvSpPr/>
          <p:nvPr/>
        </p:nvSpPr>
        <p:spPr>
          <a:xfrm>
            <a:off x="1563247" y="3459831"/>
            <a:ext cx="7441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width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AE943E7-0A4C-B453-E4A4-D60CFB294949}"/>
              </a:ext>
            </a:extLst>
          </p:cNvPr>
          <p:cNvSpPr txBox="1"/>
          <p:nvPr/>
        </p:nvSpPr>
        <p:spPr>
          <a:xfrm>
            <a:off x="3732385" y="2488594"/>
            <a:ext cx="13861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to group elements</a:t>
            </a:r>
            <a:b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</a:br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(e.g. by package name)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622385A-9A91-9961-D254-4D3068EC16DE}"/>
              </a:ext>
            </a:extLst>
          </p:cNvPr>
          <p:cNvSpPr/>
          <p:nvPr/>
        </p:nvSpPr>
        <p:spPr>
          <a:xfrm>
            <a:off x="3965926" y="2209246"/>
            <a:ext cx="9685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groupId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576A07E-53A9-6B3E-2B51-CFB5C6C58785}"/>
              </a:ext>
            </a:extLst>
          </p:cNvPr>
          <p:cNvSpPr txBox="1"/>
          <p:nvPr/>
        </p:nvSpPr>
        <p:spPr>
          <a:xfrm>
            <a:off x="608816" y="2488594"/>
            <a:ext cx="1308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to identify the element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AD0FB34-0731-FB0E-226D-0E948A7EEC5E}"/>
              </a:ext>
            </a:extLst>
          </p:cNvPr>
          <p:cNvSpPr/>
          <p:nvPr/>
        </p:nvSpPr>
        <p:spPr>
          <a:xfrm>
            <a:off x="1077516" y="2209246"/>
            <a:ext cx="3706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id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D104B65-48E1-5C3D-A3B9-C2327F58DE1D}"/>
              </a:ext>
            </a:extLst>
          </p:cNvPr>
          <p:cNvSpPr txBox="1"/>
          <p:nvPr/>
        </p:nvSpPr>
        <p:spPr>
          <a:xfrm>
            <a:off x="6370409" y="3735374"/>
            <a:ext cx="130801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relationship to other elements</a:t>
            </a:r>
            <a:b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</a:br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(e.g. dependencies)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31323B5B-91FF-9101-E369-CEA264674685}"/>
              </a:ext>
            </a:extLst>
          </p:cNvPr>
          <p:cNvSpPr/>
          <p:nvPr/>
        </p:nvSpPr>
        <p:spPr>
          <a:xfrm>
            <a:off x="6294893" y="3456026"/>
            <a:ext cx="14590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relationship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2425EDC-89D5-B5D3-1801-952A67EE6B7D}"/>
              </a:ext>
            </a:extLst>
          </p:cNvPr>
          <p:cNvSpPr txBox="1"/>
          <p:nvPr/>
        </p:nvSpPr>
        <p:spPr>
          <a:xfrm>
            <a:off x="4674968" y="3735374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color of the element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470D15A-6681-FBA7-98DA-F349509C128D}"/>
              </a:ext>
            </a:extLst>
          </p:cNvPr>
          <p:cNvSpPr/>
          <p:nvPr/>
        </p:nvSpPr>
        <p:spPr>
          <a:xfrm>
            <a:off x="4980965" y="3456026"/>
            <a:ext cx="6960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color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39E4A52-D554-A94E-F22D-68252915C305}"/>
              </a:ext>
            </a:extLst>
          </p:cNvPr>
          <p:cNvSpPr txBox="1"/>
          <p:nvPr/>
        </p:nvSpPr>
        <p:spPr>
          <a:xfrm>
            <a:off x="2866762" y="3735374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height of the element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EDD47B5-6A74-EE29-2E98-4C2C0AEA70AB}"/>
              </a:ext>
            </a:extLst>
          </p:cNvPr>
          <p:cNvSpPr/>
          <p:nvPr/>
        </p:nvSpPr>
        <p:spPr>
          <a:xfrm>
            <a:off x="3123280" y="3456026"/>
            <a:ext cx="8162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height</a:t>
            </a:r>
          </a:p>
        </p:txBody>
      </p:sp>
      <p:pic>
        <p:nvPicPr>
          <p:cNvPr id="89" name="Graphic 88" descr="Building with solid fill">
            <a:extLst>
              <a:ext uri="{FF2B5EF4-FFF2-40B4-BE49-F238E27FC236}">
                <a16:creationId xmlns:a16="http://schemas.microsoft.com/office/drawing/2014/main" id="{7F7DD296-FD3F-616B-1337-32CB288FA5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8533" y="879232"/>
            <a:ext cx="914400" cy="914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6655A8-A4FD-A1F4-8EEF-7E68EEDAD07D}"/>
              </a:ext>
            </a:extLst>
          </p:cNvPr>
          <p:cNvSpPr txBox="1"/>
          <p:nvPr/>
        </p:nvSpPr>
        <p:spPr>
          <a:xfrm>
            <a:off x="2082769" y="2488594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name of the ele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2D8E46-0638-DEA0-5D03-52FA573A183C}"/>
              </a:ext>
            </a:extLst>
          </p:cNvPr>
          <p:cNvSpPr/>
          <p:nvPr/>
        </p:nvSpPr>
        <p:spPr>
          <a:xfrm>
            <a:off x="2367123" y="2209246"/>
            <a:ext cx="7393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05693175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0864F8-7AE7-566B-1493-95281ECCD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/>
              <a:t>Open Questions &amp; Outloo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20CCBC-09C7-A5AB-BBFF-C871E20B9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7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4CAA97-1B6A-EF2D-3182-C2FE66F6FF12}"/>
              </a:ext>
            </a:extLst>
          </p:cNvPr>
          <p:cNvSpPr/>
          <p:nvPr/>
        </p:nvSpPr>
        <p:spPr>
          <a:xfrm>
            <a:off x="727462" y="457060"/>
            <a:ext cx="7689076" cy="4540604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Raleway"/>
                <a:cs typeface="Raleway"/>
              </a:rPr>
              <a:t>Does separate service for analyzing data even make sense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Raleway"/>
                <a:cs typeface="Raleway"/>
              </a:rPr>
              <a:t>Data Analyzer is only an interface without functionality</a:t>
            </a:r>
          </a:p>
          <a:p>
            <a:pPr lvl="1"/>
            <a:endParaRPr lang="en-US">
              <a:solidFill>
                <a:schemeClr val="tx1"/>
              </a:solidFill>
              <a:latin typeface="Raleway"/>
              <a:cs typeface="Raleway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Raleway"/>
                <a:cs typeface="Raleway"/>
              </a:rPr>
              <a:t>Is the current project direction as intended?</a:t>
            </a:r>
          </a:p>
          <a:p>
            <a:pPr>
              <a:lnSpc>
                <a:spcPct val="150000"/>
              </a:lnSpc>
            </a:pPr>
            <a:endParaRPr lang="en-US">
              <a:solidFill>
                <a:schemeClr val="tx1"/>
              </a:solidFill>
              <a:latin typeface="Raleway"/>
              <a:cs typeface="Raleway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Raleway"/>
                <a:cs typeface="Raleway"/>
              </a:rPr>
              <a:t>How should the different formats of raw data be parsed / how will they look like?</a:t>
            </a:r>
          </a:p>
          <a:p>
            <a:endParaRPr lang="en-US">
              <a:solidFill>
                <a:schemeClr val="tx1"/>
              </a:solidFill>
              <a:latin typeface="Raleway"/>
              <a:cs typeface="Raleway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latin typeface="Raleway"/>
                <a:cs typeface="Raleway"/>
              </a:rPr>
              <a:t>For now, Data Analyzer has a datastor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Raleway"/>
                <a:cs typeface="Raleway"/>
              </a:rPr>
              <a:t>History of uploaded data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Raleway"/>
                <a:cs typeface="Raleway"/>
              </a:rPr>
              <a:t>Remove it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Raleway"/>
                <a:cs typeface="Raleway"/>
              </a:rPr>
              <a:t>A datastore can be assigned to a specific user or use case?</a:t>
            </a:r>
          </a:p>
        </p:txBody>
      </p:sp>
    </p:spTree>
    <p:extLst>
      <p:ext uri="{BB962C8B-B14F-4D97-AF65-F5344CB8AC3E}">
        <p14:creationId xmlns:p14="http://schemas.microsoft.com/office/powerpoint/2010/main" val="26531738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8</a:t>
            </a:fld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961100" y="1660348"/>
            <a:ext cx="7221801" cy="1602951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r>
              <a:rPr lang="en-US" sz="3600" b="1">
                <a:solidFill>
                  <a:schemeClr val="tx1"/>
                </a:solidFill>
                <a:latin typeface="Raleway"/>
                <a:cs typeface="Raleway"/>
              </a:rPr>
              <a:t>THANK YOU</a:t>
            </a:r>
            <a:endParaRPr lang="en-US" sz="700" b="1">
              <a:solidFill>
                <a:schemeClr val="tx1"/>
              </a:solidFill>
              <a:latin typeface="Raleway"/>
              <a:cs typeface="Raleway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2957784" y="3749448"/>
            <a:ext cx="368562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>
                <a:latin typeface="Calibri Light" panose="020F0302020204030204" pitchFamily="34" charset="0"/>
                <a:hlinkClick r:id="rId2"/>
              </a:rPr>
              <a:t>https://github.com/jonaslanzlinger/software-city-project/tree/main</a:t>
            </a:r>
            <a:endParaRPr lang="en-US" sz="1000">
              <a:latin typeface="Calibri Light" panose="020F0302020204030204" pitchFamily="34" charset="0"/>
            </a:endParaRPr>
          </a:p>
        </p:txBody>
      </p:sp>
      <p:pic>
        <p:nvPicPr>
          <p:cNvPr id="7" name="Picture 6" descr="A logo of a cat&#10;&#10;Description automatically generated">
            <a:extLst>
              <a:ext uri="{FF2B5EF4-FFF2-40B4-BE49-F238E27FC236}">
                <a16:creationId xmlns:a16="http://schemas.microsoft.com/office/drawing/2014/main" id="{E7DDF547-982B-16FC-A50C-54D83E5846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0277" y="3648806"/>
            <a:ext cx="447507" cy="447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568246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augrü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b79084f-97b2-4538-a5e3-e0619d6076d8" xsi:nil="true"/>
    <lcf76f155ced4ddcb4097134ff3c332f xmlns="c1ddd536-4f92-4c73-8b37-0336b439be3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D6619D16DED314BB020D1F991FCCCCE" ma:contentTypeVersion="9" ma:contentTypeDescription="Ein neues Dokument erstellen." ma:contentTypeScope="" ma:versionID="1c0d5f748de161e7b5d2305fc08af6f0">
  <xsd:schema xmlns:xsd="http://www.w3.org/2001/XMLSchema" xmlns:xs="http://www.w3.org/2001/XMLSchema" xmlns:p="http://schemas.microsoft.com/office/2006/metadata/properties" xmlns:ns2="c1ddd536-4f92-4c73-8b37-0336b439be3f" xmlns:ns3="4b79084f-97b2-4538-a5e3-e0619d6076d8" targetNamespace="http://schemas.microsoft.com/office/2006/metadata/properties" ma:root="true" ma:fieldsID="e4dc461cf51feb45f57c152f18d9ee51" ns2:_="" ns3:_="">
    <xsd:import namespace="c1ddd536-4f92-4c73-8b37-0336b439be3f"/>
    <xsd:import namespace="4b79084f-97b2-4538-a5e3-e0619d6076d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ddd536-4f92-4c73-8b37-0336b439be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79084f-97b2-4538-a5e3-e0619d6076d8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c3127238-c8dc-499d-98a6-08263c120ed6}" ma:internalName="TaxCatchAll" ma:showField="CatchAllData" ma:web="4b79084f-97b2-4538-a5e3-e0619d6076d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C885CD-C34C-415B-AF1E-7A65E5919369}">
  <ds:schemaRefs>
    <ds:schemaRef ds:uri="http://purl.org/dc/terms/"/>
    <ds:schemaRef ds:uri="http://purl.org/dc/elements/1.1/"/>
    <ds:schemaRef ds:uri="4b79084f-97b2-4538-a5e3-e0619d6076d8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c1ddd536-4f92-4c73-8b37-0336b439be3f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C54D2A-552D-41E3-A035-3EE7A578ABA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2C687B-54ED-4532-A618-46FB311A97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ddd536-4f92-4c73-8b37-0336b439be3f"/>
    <ds:schemaRef ds:uri="4b79084f-97b2-4538-a5e3-e0619d6076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532</TotalTime>
  <Words>291</Words>
  <Application>Microsoft Macintosh PowerPoint</Application>
  <PresentationFormat>On-screen Show (16:9)</PresentationFormat>
  <Paragraphs>7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Raleway</vt:lpstr>
      <vt:lpstr>Office Theme</vt:lpstr>
      <vt:lpstr>think-cell Slide</vt:lpstr>
      <vt:lpstr>PowerPoint Presentation</vt:lpstr>
      <vt:lpstr>Architecture – Non-functional Requirements</vt:lpstr>
      <vt:lpstr>Service Granularity &amp; Data Access &amp; Coupling</vt:lpstr>
      <vt:lpstr>Architecture – Bounded Context</vt:lpstr>
      <vt:lpstr>OUR COMPANY</vt:lpstr>
      <vt:lpstr>Data Formats</vt:lpstr>
      <vt:lpstr>Open Questions &amp; Outlook</vt:lpstr>
      <vt:lpstr>PowerPoint Presentation</vt:lpstr>
    </vt:vector>
  </TitlesOfParts>
  <Company>Ergun Kay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ije Shefiti</dc:creator>
  <cp:lastModifiedBy>Laenzlinger, Jonas</cp:lastModifiedBy>
  <cp:revision>77</cp:revision>
  <cp:lastPrinted>2015-03-02T20:38:25Z</cp:lastPrinted>
  <dcterms:created xsi:type="dcterms:W3CDTF">2014-07-08T04:55:45Z</dcterms:created>
  <dcterms:modified xsi:type="dcterms:W3CDTF">2023-12-04T15:3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6619D16DED314BB020D1F991FCCCCE</vt:lpwstr>
  </property>
</Properties>
</file>